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8"/>
  </p:notesMasterIdLst>
  <p:handoutMasterIdLst>
    <p:handoutMasterId r:id="rId29"/>
  </p:handoutMasterIdLst>
  <p:sldIdLst>
    <p:sldId id="277" r:id="rId5"/>
    <p:sldId id="278" r:id="rId6"/>
    <p:sldId id="285" r:id="rId7"/>
    <p:sldId id="279" r:id="rId8"/>
    <p:sldId id="281" r:id="rId9"/>
    <p:sldId id="283" r:id="rId10"/>
    <p:sldId id="284" r:id="rId11"/>
    <p:sldId id="286" r:id="rId12"/>
    <p:sldId id="288" r:id="rId13"/>
    <p:sldId id="289" r:id="rId14"/>
    <p:sldId id="290" r:id="rId15"/>
    <p:sldId id="291" r:id="rId16"/>
    <p:sldId id="298" r:id="rId17"/>
    <p:sldId id="299" r:id="rId18"/>
    <p:sldId id="300" r:id="rId19"/>
    <p:sldId id="297" r:id="rId20"/>
    <p:sldId id="295" r:id="rId21"/>
    <p:sldId id="301" r:id="rId22"/>
    <p:sldId id="292" r:id="rId23"/>
    <p:sldId id="296" r:id="rId24"/>
    <p:sldId id="302" r:id="rId25"/>
    <p:sldId id="293" r:id="rId26"/>
    <p:sldId id="269"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F81BD"/>
    <a:srgbClr val="8BACD3"/>
    <a:srgbClr val="4498C2"/>
    <a:srgbClr val="71B1D1"/>
    <a:srgbClr val="F3F7FB"/>
    <a:srgbClr val="92D050"/>
    <a:srgbClr val="7FBA00"/>
    <a:srgbClr val="00AEEF"/>
    <a:srgbClr val="86C400"/>
    <a:srgbClr val="82BF3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4" d="100"/>
          <a:sy n="74" d="100"/>
        </p:scale>
        <p:origin x="354" y="60"/>
      </p:cViewPr>
      <p:guideLst/>
    </p:cSldViewPr>
  </p:slideViewPr>
  <p:notesTextViewPr>
    <p:cViewPr>
      <p:scale>
        <a:sx n="1" d="1"/>
        <a:sy n="1" d="1"/>
      </p:scale>
      <p:origin x="0" y="0"/>
    </p:cViewPr>
  </p:notesText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1/7/201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1/7/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88711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2</a:t>
            </a:fld>
            <a:endParaRPr lang="en-US" dirty="0"/>
          </a:p>
        </p:txBody>
      </p:sp>
    </p:spTree>
    <p:extLst>
      <p:ext uri="{BB962C8B-B14F-4D97-AF65-F5344CB8AC3E}">
        <p14:creationId xmlns:p14="http://schemas.microsoft.com/office/powerpoint/2010/main" val="1542757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r>
              <a:rPr lang="en-US" dirty="0" smtClean="0"/>
              <a:t>Explain how Windows</a:t>
            </a:r>
            <a:r>
              <a:rPr lang="en-US" baseline="0" dirty="0" smtClean="0"/>
              <a:t> Azure websites are simple, easy, and open.</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58934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Git</a:t>
            </a:r>
            <a:r>
              <a:rPr lang="en-US" baseline="0" dirty="0" smtClean="0"/>
              <a:t> Deployment is Native, or through a Service hook from </a:t>
            </a:r>
            <a:r>
              <a:rPr lang="en-US" baseline="0" dirty="0" err="1" smtClean="0"/>
              <a:t>CodePlex</a:t>
            </a:r>
            <a:r>
              <a:rPr lang="en-US" baseline="0" dirty="0" smtClean="0"/>
              <a:t>, </a:t>
            </a:r>
            <a:r>
              <a:rPr lang="en-US" baseline="0" dirty="0" err="1" smtClean="0"/>
              <a:t>GitHub</a:t>
            </a:r>
            <a:r>
              <a:rPr lang="en-US" baseline="0" dirty="0" smtClean="0"/>
              <a:t> or </a:t>
            </a:r>
            <a:r>
              <a:rPr lang="en-US" baseline="0" dirty="0" err="1" smtClean="0"/>
              <a:t>BitBucket</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1B45C6E-FCE4-4C36-96D3-F66438DBAEBD}" type="datetime1">
              <a:rPr lang="en-US" smtClean="0">
                <a:solidFill>
                  <a:prstClr val="black"/>
                </a:solidFill>
              </a:rPr>
              <a:pPr/>
              <a:t>11/7/2013</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260582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smtClean="0"/>
              <a:t>Click to edit Master subtitle style</a:t>
            </a:r>
            <a:endParaRPr lang="en-US" dirty="0"/>
          </a:p>
        </p:txBody>
      </p:sp>
      <p:sp>
        <p:nvSpPr>
          <p:cNvPr id="10" name="Title 1"/>
          <p:cNvSpPr>
            <a:spLocks noGrp="1"/>
          </p:cNvSpPr>
          <p:nvPr>
            <p:ph type="ctrTitle" hasCustomPrompt="1"/>
          </p:nvPr>
        </p:nvSpPr>
        <p:spPr>
          <a:xfrm>
            <a:off x="193271" y="2415641"/>
            <a:ext cx="8579886" cy="2603307"/>
          </a:xfrm>
          <a:prstGeom prst="rect">
            <a:avLst/>
          </a:prstGeom>
          <a:solidFill>
            <a:srgbClr val="7FBA00"/>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smtClean="0"/>
              <a:t>Course title style</a:t>
            </a:r>
            <a:endParaRPr lang="en-US" dirty="0"/>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94251966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pitchFamily="34" charset="0"/>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
        <p:nvSpPr>
          <p:cNvPr id="6" name="Content Placeholder 5"/>
          <p:cNvSpPr>
            <a:spLocks noGrp="1"/>
          </p:cNvSpPr>
          <p:nvPr>
            <p:ph sz="quarter" idx="10"/>
          </p:nvPr>
        </p:nvSpPr>
        <p:spPr>
          <a:xfrm>
            <a:off x="518803" y="1336040"/>
            <a:ext cx="11188566" cy="4642729"/>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0253163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mtClean="0"/>
              <a:t>Click to edit Master subtitle style</a:t>
            </a:r>
            <a:endParaRPr lang="en-US"/>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smtClean="0"/>
              <a:t>Click to edit Master subtitle sty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389134869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smtClean="0"/>
              <a:t>Click to edit Master title style</a:t>
            </a:r>
            <a:endParaRPr lang="en-US" dirty="0"/>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0" y="177800"/>
            <a:ext cx="2857500" cy="1143000"/>
          </a:xfrm>
          <a:prstGeom prst="rect">
            <a:avLst/>
          </a:prstGeom>
        </p:spPr>
      </p:pic>
    </p:spTree>
    <p:extLst>
      <p:ext uri="{BB962C8B-B14F-4D97-AF65-F5344CB8AC3E}">
        <p14:creationId xmlns:p14="http://schemas.microsoft.com/office/powerpoint/2010/main" val="382326002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77458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994614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902160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783989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smtClean="0"/>
              <a:t>Click to edit Master title style</a:t>
            </a:r>
            <a:endParaRPr lang="en-US" dirty="0"/>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71" r:id="rId2"/>
    <p:sldLayoutId id="2147483667" r:id="rId3"/>
    <p:sldLayoutId id="2147483663" r:id="rId4"/>
    <p:sldLayoutId id="2147483664" r:id="rId5"/>
    <p:sldLayoutId id="2147483665" r:id="rId6"/>
    <p:sldLayoutId id="2147483666" r:id="rId7"/>
    <p:sldLayoutId id="2147483668" r:id="rId8"/>
    <p:sldLayoutId id="2147483669" r:id="rId9"/>
    <p:sldLayoutId id="2147483672" r:id="rId10"/>
  </p:sldLayoutIdLst>
  <p:timing>
    <p:tnLst>
      <p:par>
        <p:cTn id="1" dur="indefinite" restart="never" nodeType="tmRoot"/>
      </p:par>
    </p:tnLst>
  </p:timing>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914400" indent="-914400"/>
            <a:r>
              <a:rPr lang="en-US" dirty="0" smtClean="0"/>
              <a:t>04 | </a:t>
            </a:r>
            <a:r>
              <a:rPr lang="en-US" dirty="0" smtClean="0"/>
              <a:t>Hosting Services in </a:t>
            </a:r>
            <a:r>
              <a:rPr lang="en-US" smtClean="0"/>
              <a:t>Windows Azure</a:t>
            </a:r>
            <a:endParaRPr lang="en-US" dirty="0"/>
          </a:p>
        </p:txBody>
      </p:sp>
      <p:sp>
        <p:nvSpPr>
          <p:cNvPr id="4" name="Subtitle 3"/>
          <p:cNvSpPr>
            <a:spLocks noGrp="1"/>
          </p:cNvSpPr>
          <p:nvPr>
            <p:ph type="subTitle" idx="1"/>
          </p:nvPr>
        </p:nvSpPr>
        <p:spPr/>
        <p:txBody>
          <a:bodyPr/>
          <a:lstStyle/>
          <a:p>
            <a:r>
              <a:rPr lang="en-US" dirty="0" smtClean="0"/>
              <a:t>Bruno Terkaly </a:t>
            </a:r>
            <a:r>
              <a:rPr lang="en-US" dirty="0"/>
              <a:t>| </a:t>
            </a:r>
            <a:r>
              <a:rPr lang="en-US" dirty="0" smtClean="0"/>
              <a:t>Technical Evangelist</a:t>
            </a:r>
            <a:endParaRPr lang="en-US" dirty="0"/>
          </a:p>
          <a:p>
            <a:r>
              <a:rPr lang="en-US" dirty="0" smtClean="0"/>
              <a:t>Bret Stateham </a:t>
            </a:r>
            <a:r>
              <a:rPr lang="en-US" dirty="0"/>
              <a:t>| </a:t>
            </a:r>
            <a:r>
              <a:rPr lang="en-US" dirty="0" smtClean="0"/>
              <a:t>Technical Evangelist</a:t>
            </a:r>
            <a:endParaRPr lang="en-US" dirty="0"/>
          </a:p>
        </p:txBody>
      </p:sp>
    </p:spTree>
    <p:extLst>
      <p:ext uri="{BB962C8B-B14F-4D97-AF65-F5344CB8AC3E}">
        <p14:creationId xmlns:p14="http://schemas.microsoft.com/office/powerpoint/2010/main" val="8976925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20701" y="229435"/>
            <a:ext cx="11149013" cy="770950"/>
          </a:xfrm>
        </p:spPr>
        <p:txBody>
          <a:bodyPr/>
          <a:lstStyle/>
          <a:p>
            <a:r>
              <a:rPr lang="en-US" dirty="0" smtClean="0"/>
              <a:t>Supported Publishing Methods</a:t>
            </a:r>
            <a:endParaRPr lang="en-US" dirty="0"/>
          </a:p>
        </p:txBody>
      </p:sp>
      <p:grpSp>
        <p:nvGrpSpPr>
          <p:cNvPr id="6" name="Group 5"/>
          <p:cNvGrpSpPr/>
          <p:nvPr/>
        </p:nvGrpSpPr>
        <p:grpSpPr>
          <a:xfrm>
            <a:off x="1903074" y="1434556"/>
            <a:ext cx="8030399" cy="2004042"/>
            <a:chOff x="795115" y="996422"/>
            <a:chExt cx="6024368" cy="1503423"/>
          </a:xfrm>
        </p:grpSpPr>
        <p:grpSp>
          <p:nvGrpSpPr>
            <p:cNvPr id="9" name="Group 8"/>
            <p:cNvGrpSpPr/>
            <p:nvPr/>
          </p:nvGrpSpPr>
          <p:grpSpPr>
            <a:xfrm>
              <a:off x="795115" y="996422"/>
              <a:ext cx="1773380" cy="1503423"/>
              <a:chOff x="9136594" y="3001265"/>
              <a:chExt cx="2363891" cy="2004564"/>
            </a:xfrm>
          </p:grpSpPr>
          <p:sp>
            <p:nvSpPr>
              <p:cNvPr id="10" name="Rectangle 9"/>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ctr" anchorCtr="0" compatLnSpc="1">
                <a:prstTxWarp prst="textNoShape">
                  <a:avLst/>
                </a:prstTxWarp>
              </a:bodyPr>
              <a:lstStyle/>
              <a:p>
                <a:pPr algn="ctr" defTabSz="913993" fontAlgn="base">
                  <a:spcBef>
                    <a:spcPct val="0"/>
                  </a:spcBef>
                  <a:spcAft>
                    <a:spcPct val="0"/>
                  </a:spcAft>
                </a:pPr>
                <a:r>
                  <a:rPr lang="en-US" sz="3199" b="1" dirty="0">
                    <a:gradFill>
                      <a:gsLst>
                        <a:gs pos="0">
                          <a:srgbClr val="FFFFFF"/>
                        </a:gs>
                        <a:gs pos="100000">
                          <a:srgbClr val="FFFFFF"/>
                        </a:gs>
                      </a:gsLst>
                      <a:lin ang="5400000" scaled="0"/>
                    </a:gradFill>
                  </a:rPr>
                  <a:t>FTP://</a:t>
                </a:r>
              </a:p>
            </p:txBody>
          </p:sp>
          <p:sp>
            <p:nvSpPr>
              <p:cNvPr id="11"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grpSp>
          <p:nvGrpSpPr>
            <p:cNvPr id="12" name="Group 11"/>
            <p:cNvGrpSpPr/>
            <p:nvPr/>
          </p:nvGrpSpPr>
          <p:grpSpPr>
            <a:xfrm>
              <a:off x="2920609" y="996422"/>
              <a:ext cx="1773380" cy="1503423"/>
              <a:chOff x="9136594" y="3001265"/>
              <a:chExt cx="2363891" cy="2004564"/>
            </a:xfrm>
          </p:grpSpPr>
          <p:sp>
            <p:nvSpPr>
              <p:cNvPr id="13" name="Rectangle 12"/>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ctr" anchorCtr="0" compatLnSpc="1">
                <a:prstTxWarp prst="textNoShape">
                  <a:avLst/>
                </a:prstTxWarp>
              </a:bodyPr>
              <a:lstStyle/>
              <a:p>
                <a:pPr algn="ctr" defTabSz="913993" fontAlgn="base">
                  <a:spcBef>
                    <a:spcPct val="0"/>
                  </a:spcBef>
                  <a:spcAft>
                    <a:spcPct val="0"/>
                  </a:spcAft>
                </a:pPr>
                <a:r>
                  <a:rPr lang="en-US" sz="3199" b="1" dirty="0">
                    <a:gradFill>
                      <a:gsLst>
                        <a:gs pos="0">
                          <a:srgbClr val="FFFFFF"/>
                        </a:gs>
                        <a:gs pos="100000">
                          <a:srgbClr val="FFFFFF"/>
                        </a:gs>
                      </a:gsLst>
                      <a:lin ang="5400000" scaled="0"/>
                    </a:gradFill>
                  </a:rPr>
                  <a:t>TFS</a:t>
                </a:r>
              </a:p>
            </p:txBody>
          </p:sp>
          <p:sp>
            <p:nvSpPr>
              <p:cNvPr id="14"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grpSp>
          <p:nvGrpSpPr>
            <p:cNvPr id="15" name="Group 14"/>
            <p:cNvGrpSpPr/>
            <p:nvPr/>
          </p:nvGrpSpPr>
          <p:grpSpPr>
            <a:xfrm>
              <a:off x="5046103" y="996422"/>
              <a:ext cx="1773380" cy="1503423"/>
              <a:chOff x="9136594" y="3001265"/>
              <a:chExt cx="2363891" cy="2004564"/>
            </a:xfrm>
          </p:grpSpPr>
          <p:sp>
            <p:nvSpPr>
              <p:cNvPr id="16" name="Rectangle 15"/>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ctr" anchorCtr="0" compatLnSpc="1">
                <a:prstTxWarp prst="textNoShape">
                  <a:avLst/>
                </a:prstTxWarp>
              </a:bodyPr>
              <a:lstStyle/>
              <a:p>
                <a:pPr algn="ctr" defTabSz="913993" fontAlgn="base">
                  <a:spcBef>
                    <a:spcPct val="0"/>
                  </a:spcBef>
                  <a:spcAft>
                    <a:spcPct val="0"/>
                  </a:spcAft>
                </a:pPr>
                <a:r>
                  <a:rPr lang="en-US" sz="2399" b="1" cap="small" dirty="0">
                    <a:gradFill>
                      <a:gsLst>
                        <a:gs pos="0">
                          <a:srgbClr val="FFFFFF"/>
                        </a:gs>
                        <a:gs pos="100000">
                          <a:srgbClr val="FFFFFF"/>
                        </a:gs>
                      </a:gsLst>
                      <a:lin ang="5400000" scaled="0"/>
                    </a:gradFill>
                  </a:rPr>
                  <a:t>WebDeploy</a:t>
                </a:r>
              </a:p>
            </p:txBody>
          </p:sp>
          <p:sp>
            <p:nvSpPr>
              <p:cNvPr id="17"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grpSp>
      <p:grpSp>
        <p:nvGrpSpPr>
          <p:cNvPr id="5" name="Group 4"/>
          <p:cNvGrpSpPr/>
          <p:nvPr/>
        </p:nvGrpSpPr>
        <p:grpSpPr>
          <a:xfrm>
            <a:off x="3283665" y="3757149"/>
            <a:ext cx="5269218" cy="2034217"/>
            <a:chOff x="1883687" y="2738820"/>
            <a:chExt cx="3952943" cy="1526060"/>
          </a:xfrm>
        </p:grpSpPr>
        <p:grpSp>
          <p:nvGrpSpPr>
            <p:cNvPr id="18" name="Group 17"/>
            <p:cNvGrpSpPr/>
            <p:nvPr/>
          </p:nvGrpSpPr>
          <p:grpSpPr>
            <a:xfrm>
              <a:off x="1883687" y="2761457"/>
              <a:ext cx="1773380" cy="1503423"/>
              <a:chOff x="9136594" y="3001265"/>
              <a:chExt cx="2363891" cy="2004564"/>
            </a:xfrm>
          </p:grpSpPr>
          <p:sp>
            <p:nvSpPr>
              <p:cNvPr id="19" name="Rectangle 18"/>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b" anchorCtr="0" compatLnSpc="1">
                <a:prstTxWarp prst="textNoShape">
                  <a:avLst/>
                </a:prstTxWarp>
              </a:bodyPr>
              <a:lstStyle/>
              <a:p>
                <a:pPr algn="r" defTabSz="913993" fontAlgn="base">
                  <a:spcBef>
                    <a:spcPct val="0"/>
                  </a:spcBef>
                  <a:spcAft>
                    <a:spcPct val="0"/>
                  </a:spcAft>
                </a:pPr>
                <a:endParaRPr lang="en-US" sz="2399" dirty="0">
                  <a:gradFill>
                    <a:gsLst>
                      <a:gs pos="0">
                        <a:srgbClr val="FFFFFF"/>
                      </a:gs>
                      <a:gs pos="100000">
                        <a:srgbClr val="FFFFFF"/>
                      </a:gs>
                    </a:gsLst>
                    <a:lin ang="5400000" scaled="0"/>
                  </a:gradFill>
                </a:endParaRPr>
              </a:p>
            </p:txBody>
          </p:sp>
          <p:sp>
            <p:nvSpPr>
              <p:cNvPr id="20"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89526" y="3163438"/>
              <a:ext cx="1165417" cy="486530"/>
            </a:xfrm>
            <a:prstGeom prst="rect">
              <a:avLst/>
            </a:prstGeom>
          </p:spPr>
        </p:pic>
        <p:grpSp>
          <p:nvGrpSpPr>
            <p:cNvPr id="35" name="Group 34"/>
            <p:cNvGrpSpPr/>
            <p:nvPr/>
          </p:nvGrpSpPr>
          <p:grpSpPr>
            <a:xfrm>
              <a:off x="4063250" y="2738820"/>
              <a:ext cx="1773380" cy="1503423"/>
              <a:chOff x="9136594" y="3001265"/>
              <a:chExt cx="2363891" cy="2004564"/>
            </a:xfrm>
          </p:grpSpPr>
          <p:sp>
            <p:nvSpPr>
              <p:cNvPr id="36" name="Rectangle 35"/>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ctr" anchorCtr="0" compatLnSpc="1">
                <a:prstTxWarp prst="textNoShape">
                  <a:avLst/>
                </a:prstTxWarp>
              </a:bodyPr>
              <a:lstStyle/>
              <a:p>
                <a:pPr algn="ctr" defTabSz="913993" fontAlgn="base">
                  <a:spcBef>
                    <a:spcPct val="0"/>
                  </a:spcBef>
                  <a:spcAft>
                    <a:spcPct val="0"/>
                  </a:spcAft>
                </a:pPr>
                <a:r>
                  <a:rPr lang="en-US" sz="2399" b="1" cap="small" dirty="0" err="1">
                    <a:gradFill>
                      <a:gsLst>
                        <a:gs pos="0">
                          <a:srgbClr val="FFFFFF"/>
                        </a:gs>
                        <a:gs pos="100000">
                          <a:srgbClr val="FFFFFF"/>
                        </a:gs>
                      </a:gsLst>
                      <a:lin ang="5400000" scaled="0"/>
                    </a:gradFill>
                  </a:rPr>
                  <a:t>DropBox</a:t>
                </a:r>
                <a:endParaRPr lang="en-US" sz="2399" b="1" cap="small" dirty="0">
                  <a:gradFill>
                    <a:gsLst>
                      <a:gs pos="0">
                        <a:srgbClr val="FFFFFF"/>
                      </a:gs>
                      <a:gs pos="100000">
                        <a:srgbClr val="FFFFFF"/>
                      </a:gs>
                    </a:gsLst>
                    <a:lin ang="5400000" scaled="0"/>
                  </a:gradFill>
                </a:endParaRPr>
              </a:p>
            </p:txBody>
          </p:sp>
          <p:sp>
            <p:nvSpPr>
              <p:cNvPr id="37"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grpSp>
    </p:spTree>
    <p:extLst>
      <p:ext uri="{BB962C8B-B14F-4D97-AF65-F5344CB8AC3E}">
        <p14:creationId xmlns:p14="http://schemas.microsoft.com/office/powerpoint/2010/main" val="10609832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ploying a Web Service to a Windows Azure Web Site</a:t>
            </a:r>
            <a:endParaRPr lang="en-US" dirty="0"/>
          </a:p>
        </p:txBody>
      </p:sp>
    </p:spTree>
    <p:extLst>
      <p:ext uri="{BB962C8B-B14F-4D97-AF65-F5344CB8AC3E}">
        <p14:creationId xmlns:p14="http://schemas.microsoft.com/office/powerpoint/2010/main" val="39431485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Windows Azure Cloud Services</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41137171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5084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1"/>
            </p:custDataLst>
          </p:nvPr>
        </p:nvSpPr>
        <p:spPr/>
        <p:txBody>
          <a:bodyPr/>
          <a:lstStyle/>
          <a:p>
            <a:r>
              <a:rPr lang="en-US" dirty="0" smtClean="0"/>
              <a:t>What is a Cloud Service?</a:t>
            </a:r>
            <a:endParaRPr lang="en-US" dirty="0"/>
          </a:p>
        </p:txBody>
      </p:sp>
      <p:sp>
        <p:nvSpPr>
          <p:cNvPr id="6" name="Rectangle 5"/>
          <p:cNvSpPr/>
          <p:nvPr/>
        </p:nvSpPr>
        <p:spPr bwMode="auto">
          <a:xfrm>
            <a:off x="2505197" y="2983042"/>
            <a:ext cx="3455934" cy="25988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 name="Rectangle 9"/>
          <p:cNvSpPr/>
          <p:nvPr/>
        </p:nvSpPr>
        <p:spPr bwMode="auto">
          <a:xfrm>
            <a:off x="6130271" y="2983042"/>
            <a:ext cx="3474720" cy="259884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2"/>
            </p:custDataLst>
          </p:nvPr>
        </p:nvSpPr>
        <p:spPr>
          <a:xfrm>
            <a:off x="552431" y="1843787"/>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llection of related service roles</a:t>
            </a:r>
            <a:endParaRPr lang="en-US" dirty="0">
              <a:solidFill>
                <a:schemeClr val="tx2">
                  <a:alpha val="99000"/>
                </a:schemeClr>
              </a:solidFill>
              <a:latin typeface="Segoe UI Light" pitchFamily="34" charset="0"/>
            </a:endParaRPr>
          </a:p>
        </p:txBody>
      </p:sp>
      <p:sp>
        <p:nvSpPr>
          <p:cNvPr id="13" name="TextBox 12"/>
          <p:cNvSpPr txBox="1"/>
          <p:nvPr/>
        </p:nvSpPr>
        <p:spPr>
          <a:xfrm>
            <a:off x="2486411"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Web Role</a:t>
            </a:r>
          </a:p>
        </p:txBody>
      </p:sp>
      <p:sp>
        <p:nvSpPr>
          <p:cNvPr id="14" name="TextBox 13"/>
          <p:cNvSpPr txBox="1"/>
          <p:nvPr/>
        </p:nvSpPr>
        <p:spPr>
          <a:xfrm>
            <a:off x="6130271"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Worker Role</a:t>
            </a:r>
          </a:p>
        </p:txBody>
      </p:sp>
      <p:grpSp>
        <p:nvGrpSpPr>
          <p:cNvPr id="15" name="Web Roles"/>
          <p:cNvGrpSpPr/>
          <p:nvPr/>
        </p:nvGrpSpPr>
        <p:grpSpPr>
          <a:xfrm>
            <a:off x="3347481" y="3823862"/>
            <a:ext cx="1771366" cy="1635106"/>
            <a:chOff x="3673066" y="2374847"/>
            <a:chExt cx="513800" cy="474277"/>
          </a:xfrm>
          <a:solidFill>
            <a:schemeClr val="bg1"/>
          </a:solidFill>
        </p:grpSpPr>
        <p:sp>
          <p:nvSpPr>
            <p:cNvPr id="16" name="Freeform 15"/>
            <p:cNvSpPr>
              <a:spLocks noChangeAspect="1"/>
            </p:cNvSpPr>
            <p:nvPr/>
          </p:nvSpPr>
          <p:spPr>
            <a:xfrm>
              <a:off x="3673066" y="2374847"/>
              <a:ext cx="513800" cy="474277"/>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22" name="Azure Web Sites EMF Icon 02"/>
            <p:cNvSpPr>
              <a:spLocks noChangeAspect="1" noEditPoints="1"/>
            </p:cNvSpPr>
            <p:nvPr/>
          </p:nvSpPr>
          <p:spPr bwMode="auto">
            <a:xfrm>
              <a:off x="3829040" y="2469943"/>
              <a:ext cx="201852" cy="200550"/>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3" name="Worker Role"/>
          <p:cNvGrpSpPr/>
          <p:nvPr/>
        </p:nvGrpSpPr>
        <p:grpSpPr>
          <a:xfrm>
            <a:off x="6984034" y="3827713"/>
            <a:ext cx="1767194" cy="1631256"/>
            <a:chOff x="379413" y="1388226"/>
            <a:chExt cx="2467696" cy="2277873"/>
          </a:xfrm>
          <a:solidFill>
            <a:schemeClr val="bg1"/>
          </a:solidFill>
        </p:grpSpPr>
        <p:sp>
          <p:nvSpPr>
            <p:cNvPr id="24" name="Freeform 23"/>
            <p:cNvSpPr>
              <a:spLocks noChangeAspect="1"/>
            </p:cNvSpPr>
            <p:nvPr/>
          </p:nvSpPr>
          <p:spPr>
            <a:xfrm>
              <a:off x="379413" y="1388226"/>
              <a:ext cx="2467696" cy="2277873"/>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25" name="Rectangle 10"/>
            <p:cNvSpPr/>
            <p:nvPr/>
          </p:nvSpPr>
          <p:spPr>
            <a:xfrm>
              <a:off x="1128530" y="1844956"/>
              <a:ext cx="969465" cy="963208"/>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05646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mpute Web / Worker Role VMs</a:t>
            </a:r>
            <a:endParaRPr lang="en-US" dirty="0"/>
          </a:p>
        </p:txBody>
      </p:sp>
      <p:sp>
        <p:nvSpPr>
          <p:cNvPr id="3" name="Content Placeholder 2"/>
          <p:cNvSpPr>
            <a:spLocks noGrp="1"/>
          </p:cNvSpPr>
          <p:nvPr>
            <p:ph sz="quarter" idx="10"/>
          </p:nvPr>
        </p:nvSpPr>
        <p:spPr>
          <a:xfrm>
            <a:off x="4097814" y="1738988"/>
            <a:ext cx="7383356" cy="4247317"/>
          </a:xfrm>
        </p:spPr>
        <p:txBody>
          <a:bodyPr/>
          <a:lstStyle/>
          <a:p>
            <a:pPr marL="0" indent="0">
              <a:buNone/>
            </a:pPr>
            <a:r>
              <a:rPr lang="en-US" sz="2800" dirty="0"/>
              <a:t>A “Platform as a Service” (</a:t>
            </a:r>
            <a:r>
              <a:rPr lang="en-US" sz="2800" dirty="0" err="1"/>
              <a:t>PaaS</a:t>
            </a:r>
            <a:r>
              <a:rPr lang="en-US" sz="2800" dirty="0"/>
              <a:t>) solution</a:t>
            </a:r>
          </a:p>
          <a:p>
            <a:pPr marL="460375" lvl="1" indent="0">
              <a:buNone/>
            </a:pPr>
            <a:r>
              <a:rPr lang="en-US" sz="2400" dirty="0"/>
              <a:t>Preconfigured Virtual Machines (VMs)</a:t>
            </a:r>
          </a:p>
          <a:p>
            <a:pPr marL="460375" lvl="1" indent="0">
              <a:buNone/>
            </a:pPr>
            <a:r>
              <a:rPr lang="en-US" sz="2400" dirty="0"/>
              <a:t>Running Windows Server </a:t>
            </a:r>
            <a:r>
              <a:rPr lang="en-US" sz="2400" dirty="0" smtClean="0"/>
              <a:t>2012 R2, 2012, or 2008</a:t>
            </a:r>
            <a:endParaRPr lang="en-US" sz="2400" dirty="0"/>
          </a:p>
          <a:p>
            <a:pPr marL="460375" lvl="1" indent="0">
              <a:buNone/>
            </a:pPr>
            <a:r>
              <a:rPr lang="en-US" sz="2400" dirty="0"/>
              <a:t>You DO NOT need to install the OS</a:t>
            </a:r>
          </a:p>
          <a:p>
            <a:pPr marL="460375" lvl="1" indent="0">
              <a:buNone/>
            </a:pPr>
            <a:r>
              <a:rPr lang="en-US" sz="2400" dirty="0"/>
              <a:t>You DO NOT need to maintain the OS</a:t>
            </a:r>
          </a:p>
          <a:p>
            <a:pPr marL="0" indent="0">
              <a:buNone/>
            </a:pPr>
            <a:r>
              <a:rPr lang="en-US" sz="2800" dirty="0"/>
              <a:t>They are STATELESS</a:t>
            </a:r>
          </a:p>
          <a:p>
            <a:pPr marL="460375" lvl="1" indent="0">
              <a:buNone/>
            </a:pPr>
            <a:r>
              <a:rPr lang="en-US" sz="2400" dirty="0"/>
              <a:t>When a VM is recycled, no data is preserved</a:t>
            </a:r>
          </a:p>
          <a:p>
            <a:pPr marL="460375" lvl="1" indent="0">
              <a:buNone/>
            </a:pPr>
            <a:r>
              <a:rPr lang="en-US" sz="2400" dirty="0"/>
              <a:t>Data in local storage (local to the VM) will be lost</a:t>
            </a:r>
          </a:p>
          <a:p>
            <a:pPr marL="460375" lvl="1" indent="0">
              <a:buNone/>
            </a:pPr>
            <a:r>
              <a:rPr lang="en-US" sz="2400" dirty="0"/>
              <a:t>Persist data in Table or Blob Storage or SQL Azure</a:t>
            </a:r>
          </a:p>
          <a:p>
            <a:pPr marL="0" indent="0">
              <a:buNone/>
            </a:pPr>
            <a:endParaRPr lang="en-US" sz="2800" dirty="0"/>
          </a:p>
        </p:txBody>
      </p:sp>
      <p:grpSp>
        <p:nvGrpSpPr>
          <p:cNvPr id="4" name="Group 3"/>
          <p:cNvGrpSpPr/>
          <p:nvPr/>
        </p:nvGrpSpPr>
        <p:grpSpPr>
          <a:xfrm>
            <a:off x="386182" y="2003835"/>
            <a:ext cx="2990344" cy="2986613"/>
            <a:chOff x="442650" y="1524445"/>
            <a:chExt cx="1413750" cy="1411986"/>
          </a:xfrm>
          <a:solidFill>
            <a:schemeClr val="bg1"/>
          </a:solidFill>
        </p:grpSpPr>
        <p:sp>
          <p:nvSpPr>
            <p:cNvPr id="5" name="Rectangle 4"/>
            <p:cNvSpPr/>
            <p:nvPr/>
          </p:nvSpPr>
          <p:spPr>
            <a:xfrm>
              <a:off x="442650" y="1524445"/>
              <a:ext cx="1413750" cy="1411986"/>
            </a:xfrm>
            <a:prstGeom prst="rect">
              <a:avLst/>
            </a:prstGeom>
            <a:solidFill>
              <a:schemeClr val="accent3"/>
            </a:solidFill>
            <a:ln w="9525" cap="flat" cmpd="sng" algn="ctr">
              <a:noFill/>
              <a:prstDash val="solid"/>
            </a:ln>
            <a:effectLst/>
          </p:spPr>
          <p:txBody>
            <a:bodyPr rtlCol="0" anchor="b" anchorCtr="0"/>
            <a:lstStyle/>
            <a:p>
              <a:pPr defTabSz="1218936"/>
              <a:r>
                <a:rPr lang="en-US" dirty="0">
                  <a:solidFill>
                    <a:srgbClr val="FFFFFF">
                      <a:alpha val="99000"/>
                    </a:srgbClr>
                  </a:solidFill>
                  <a:ea typeface="Segoe UI" pitchFamily="34" charset="0"/>
                  <a:cs typeface="Segoe UI" pitchFamily="34" charset="0"/>
                </a:rPr>
                <a:t>Role Virtual Machines</a:t>
              </a:r>
            </a:p>
          </p:txBody>
        </p:sp>
        <p:grpSp>
          <p:nvGrpSpPr>
            <p:cNvPr id="6" name="Group 5"/>
            <p:cNvGrpSpPr/>
            <p:nvPr/>
          </p:nvGrpSpPr>
          <p:grpSpPr>
            <a:xfrm>
              <a:off x="739745" y="1752600"/>
              <a:ext cx="819560" cy="871538"/>
              <a:chOff x="739745" y="1752600"/>
              <a:chExt cx="819560" cy="871538"/>
            </a:xfrm>
            <a:grpFill/>
          </p:grpSpPr>
          <p:sp>
            <p:nvSpPr>
              <p:cNvPr id="7" name="Rounded Rectangle 1"/>
              <p:cNvSpPr/>
              <p:nvPr/>
            </p:nvSpPr>
            <p:spPr bwMode="auto">
              <a:xfrm>
                <a:off x="739745" y="1752600"/>
                <a:ext cx="819560" cy="652463"/>
              </a:xfrm>
              <a:custGeom>
                <a:avLst/>
                <a:gdLst/>
                <a:ahLst/>
                <a:cxnLst/>
                <a:rect l="l" t="t" r="r" b="b"/>
                <a:pathLst>
                  <a:path w="819560" h="652463">
                    <a:moveTo>
                      <a:pt x="115718" y="61913"/>
                    </a:moveTo>
                    <a:cubicBezTo>
                      <a:pt x="93045" y="61913"/>
                      <a:pt x="74664" y="80294"/>
                      <a:pt x="74664" y="102967"/>
                    </a:cubicBezTo>
                    <a:lnTo>
                      <a:pt x="74664" y="549497"/>
                    </a:lnTo>
                    <a:cubicBezTo>
                      <a:pt x="74664" y="572170"/>
                      <a:pt x="93045" y="590551"/>
                      <a:pt x="115718" y="590551"/>
                    </a:cubicBezTo>
                    <a:lnTo>
                      <a:pt x="703844" y="590551"/>
                    </a:lnTo>
                    <a:cubicBezTo>
                      <a:pt x="726517" y="590551"/>
                      <a:pt x="744898" y="572170"/>
                      <a:pt x="744898" y="549497"/>
                    </a:cubicBezTo>
                    <a:lnTo>
                      <a:pt x="744898" y="102967"/>
                    </a:lnTo>
                    <a:cubicBezTo>
                      <a:pt x="744898" y="80294"/>
                      <a:pt x="726517" y="61913"/>
                      <a:pt x="703844" y="61913"/>
                    </a:cubicBezTo>
                    <a:close/>
                    <a:moveTo>
                      <a:pt x="37308" y="0"/>
                    </a:moveTo>
                    <a:lnTo>
                      <a:pt x="782252" y="0"/>
                    </a:lnTo>
                    <a:cubicBezTo>
                      <a:pt x="802857" y="0"/>
                      <a:pt x="819560" y="16703"/>
                      <a:pt x="819560" y="37308"/>
                    </a:cubicBezTo>
                    <a:lnTo>
                      <a:pt x="819560" y="615155"/>
                    </a:lnTo>
                    <a:cubicBezTo>
                      <a:pt x="819560" y="635760"/>
                      <a:pt x="802857" y="652463"/>
                      <a:pt x="782252" y="652463"/>
                    </a:cubicBezTo>
                    <a:lnTo>
                      <a:pt x="37308" y="652463"/>
                    </a:lnTo>
                    <a:cubicBezTo>
                      <a:pt x="16703" y="652463"/>
                      <a:pt x="0" y="635760"/>
                      <a:pt x="0" y="615155"/>
                    </a:cubicBezTo>
                    <a:lnTo>
                      <a:pt x="0" y="37308"/>
                    </a:lnTo>
                    <a:cubicBezTo>
                      <a:pt x="0" y="16703"/>
                      <a:pt x="16703" y="0"/>
                      <a:pt x="3730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Oval 2"/>
              <p:cNvSpPr/>
              <p:nvPr/>
            </p:nvSpPr>
            <p:spPr bwMode="auto">
              <a:xfrm>
                <a:off x="885786" y="1898846"/>
                <a:ext cx="527479" cy="359970"/>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 name="Rectangle 8"/>
              <p:cNvSpPr/>
              <p:nvPr/>
            </p:nvSpPr>
            <p:spPr bwMode="auto">
              <a:xfrm>
                <a:off x="904875" y="2426494"/>
                <a:ext cx="423863" cy="197644"/>
              </a:xfrm>
              <a:custGeom>
                <a:avLst/>
                <a:gdLst/>
                <a:ahLst/>
                <a:cxnLst/>
                <a:rect l="l" t="t" r="r" b="b"/>
                <a:pathLst>
                  <a:path w="423863" h="197644">
                    <a:moveTo>
                      <a:pt x="367741" y="126444"/>
                    </a:moveTo>
                    <a:lnTo>
                      <a:pt x="367741" y="152916"/>
                    </a:lnTo>
                    <a:lnTo>
                      <a:pt x="392653" y="152916"/>
                    </a:lnTo>
                    <a:lnTo>
                      <a:pt x="392653" y="126444"/>
                    </a:lnTo>
                    <a:close/>
                    <a:moveTo>
                      <a:pt x="337639" y="126444"/>
                    </a:moveTo>
                    <a:lnTo>
                      <a:pt x="337639" y="152916"/>
                    </a:lnTo>
                    <a:lnTo>
                      <a:pt x="362551" y="152916"/>
                    </a:lnTo>
                    <a:lnTo>
                      <a:pt x="362551" y="126444"/>
                    </a:lnTo>
                    <a:close/>
                    <a:moveTo>
                      <a:pt x="306240" y="126444"/>
                    </a:moveTo>
                    <a:lnTo>
                      <a:pt x="306240" y="152916"/>
                    </a:lnTo>
                    <a:lnTo>
                      <a:pt x="331152" y="152916"/>
                    </a:lnTo>
                    <a:lnTo>
                      <a:pt x="331152" y="126444"/>
                    </a:lnTo>
                    <a:close/>
                    <a:moveTo>
                      <a:pt x="122811" y="126444"/>
                    </a:moveTo>
                    <a:lnTo>
                      <a:pt x="122811" y="152916"/>
                    </a:lnTo>
                    <a:lnTo>
                      <a:pt x="301050" y="152916"/>
                    </a:lnTo>
                    <a:lnTo>
                      <a:pt x="301050" y="126444"/>
                    </a:lnTo>
                    <a:close/>
                    <a:moveTo>
                      <a:pt x="92710" y="126444"/>
                    </a:moveTo>
                    <a:lnTo>
                      <a:pt x="92710" y="152916"/>
                    </a:lnTo>
                    <a:lnTo>
                      <a:pt x="117622" y="152916"/>
                    </a:lnTo>
                    <a:lnTo>
                      <a:pt x="117622" y="126444"/>
                    </a:lnTo>
                    <a:close/>
                    <a:moveTo>
                      <a:pt x="61311" y="126444"/>
                    </a:moveTo>
                    <a:lnTo>
                      <a:pt x="61311" y="152916"/>
                    </a:lnTo>
                    <a:lnTo>
                      <a:pt x="86223" y="152916"/>
                    </a:lnTo>
                    <a:lnTo>
                      <a:pt x="86223" y="126444"/>
                    </a:lnTo>
                    <a:close/>
                    <a:moveTo>
                      <a:pt x="31209" y="126444"/>
                    </a:moveTo>
                    <a:lnTo>
                      <a:pt x="31209" y="152916"/>
                    </a:lnTo>
                    <a:lnTo>
                      <a:pt x="56121" y="152916"/>
                    </a:lnTo>
                    <a:lnTo>
                      <a:pt x="56121" y="126444"/>
                    </a:lnTo>
                    <a:close/>
                    <a:moveTo>
                      <a:pt x="367741" y="94459"/>
                    </a:moveTo>
                    <a:lnTo>
                      <a:pt x="367741" y="120931"/>
                    </a:lnTo>
                    <a:lnTo>
                      <a:pt x="392653" y="120931"/>
                    </a:lnTo>
                    <a:lnTo>
                      <a:pt x="392653" y="94459"/>
                    </a:lnTo>
                    <a:close/>
                    <a:moveTo>
                      <a:pt x="337639" y="94459"/>
                    </a:moveTo>
                    <a:lnTo>
                      <a:pt x="337639" y="120931"/>
                    </a:lnTo>
                    <a:lnTo>
                      <a:pt x="362551" y="120931"/>
                    </a:lnTo>
                    <a:lnTo>
                      <a:pt x="362551" y="94459"/>
                    </a:lnTo>
                    <a:close/>
                    <a:moveTo>
                      <a:pt x="306240" y="94459"/>
                    </a:moveTo>
                    <a:lnTo>
                      <a:pt x="306240" y="120931"/>
                    </a:lnTo>
                    <a:lnTo>
                      <a:pt x="331152" y="120931"/>
                    </a:lnTo>
                    <a:lnTo>
                      <a:pt x="331152" y="94459"/>
                    </a:lnTo>
                    <a:close/>
                    <a:moveTo>
                      <a:pt x="276139" y="94459"/>
                    </a:moveTo>
                    <a:lnTo>
                      <a:pt x="276139" y="120931"/>
                    </a:lnTo>
                    <a:lnTo>
                      <a:pt x="301051" y="120931"/>
                    </a:lnTo>
                    <a:lnTo>
                      <a:pt x="301051" y="94459"/>
                    </a:lnTo>
                    <a:close/>
                    <a:moveTo>
                      <a:pt x="122811" y="94459"/>
                    </a:moveTo>
                    <a:lnTo>
                      <a:pt x="122811" y="120931"/>
                    </a:lnTo>
                    <a:lnTo>
                      <a:pt x="147723" y="120931"/>
                    </a:lnTo>
                    <a:lnTo>
                      <a:pt x="147723" y="94459"/>
                    </a:lnTo>
                    <a:close/>
                    <a:moveTo>
                      <a:pt x="92710" y="94459"/>
                    </a:moveTo>
                    <a:lnTo>
                      <a:pt x="92710" y="120931"/>
                    </a:lnTo>
                    <a:lnTo>
                      <a:pt x="117622" y="120931"/>
                    </a:lnTo>
                    <a:lnTo>
                      <a:pt x="117622" y="94459"/>
                    </a:lnTo>
                    <a:close/>
                    <a:moveTo>
                      <a:pt x="61311" y="94459"/>
                    </a:moveTo>
                    <a:lnTo>
                      <a:pt x="61311" y="120931"/>
                    </a:lnTo>
                    <a:lnTo>
                      <a:pt x="86223" y="120931"/>
                    </a:lnTo>
                    <a:lnTo>
                      <a:pt x="86223" y="94459"/>
                    </a:lnTo>
                    <a:close/>
                    <a:moveTo>
                      <a:pt x="31209" y="94459"/>
                    </a:moveTo>
                    <a:lnTo>
                      <a:pt x="31209" y="120931"/>
                    </a:lnTo>
                    <a:lnTo>
                      <a:pt x="56121" y="120931"/>
                    </a:lnTo>
                    <a:lnTo>
                      <a:pt x="56121" y="94459"/>
                    </a:lnTo>
                    <a:close/>
                    <a:moveTo>
                      <a:pt x="245804" y="94458"/>
                    </a:moveTo>
                    <a:lnTo>
                      <a:pt x="245804" y="120930"/>
                    </a:lnTo>
                    <a:lnTo>
                      <a:pt x="270716" y="120930"/>
                    </a:lnTo>
                    <a:lnTo>
                      <a:pt x="270716" y="94458"/>
                    </a:lnTo>
                    <a:close/>
                    <a:moveTo>
                      <a:pt x="215702" y="94458"/>
                    </a:moveTo>
                    <a:lnTo>
                      <a:pt x="215702" y="120930"/>
                    </a:lnTo>
                    <a:lnTo>
                      <a:pt x="240614" y="120930"/>
                    </a:lnTo>
                    <a:lnTo>
                      <a:pt x="240614" y="94458"/>
                    </a:lnTo>
                    <a:close/>
                    <a:moveTo>
                      <a:pt x="184303" y="94458"/>
                    </a:moveTo>
                    <a:lnTo>
                      <a:pt x="184303" y="120930"/>
                    </a:lnTo>
                    <a:lnTo>
                      <a:pt x="209215" y="120930"/>
                    </a:lnTo>
                    <a:lnTo>
                      <a:pt x="209215" y="94458"/>
                    </a:lnTo>
                    <a:close/>
                    <a:moveTo>
                      <a:pt x="154202" y="94458"/>
                    </a:moveTo>
                    <a:lnTo>
                      <a:pt x="154202" y="120930"/>
                    </a:lnTo>
                    <a:lnTo>
                      <a:pt x="179114" y="120930"/>
                    </a:lnTo>
                    <a:lnTo>
                      <a:pt x="179114" y="94458"/>
                    </a:lnTo>
                    <a:close/>
                    <a:moveTo>
                      <a:pt x="367741" y="62473"/>
                    </a:moveTo>
                    <a:lnTo>
                      <a:pt x="367741" y="88945"/>
                    </a:lnTo>
                    <a:lnTo>
                      <a:pt x="392653" y="88945"/>
                    </a:lnTo>
                    <a:lnTo>
                      <a:pt x="392653" y="62473"/>
                    </a:lnTo>
                    <a:close/>
                    <a:moveTo>
                      <a:pt x="337639" y="62473"/>
                    </a:moveTo>
                    <a:lnTo>
                      <a:pt x="337639" y="88945"/>
                    </a:lnTo>
                    <a:lnTo>
                      <a:pt x="362551" y="88945"/>
                    </a:lnTo>
                    <a:lnTo>
                      <a:pt x="362551" y="62473"/>
                    </a:lnTo>
                    <a:close/>
                    <a:moveTo>
                      <a:pt x="306240" y="62473"/>
                    </a:moveTo>
                    <a:lnTo>
                      <a:pt x="306240" y="88945"/>
                    </a:lnTo>
                    <a:lnTo>
                      <a:pt x="331152" y="88945"/>
                    </a:lnTo>
                    <a:lnTo>
                      <a:pt x="331152" y="62473"/>
                    </a:lnTo>
                    <a:close/>
                    <a:moveTo>
                      <a:pt x="276139" y="62473"/>
                    </a:moveTo>
                    <a:lnTo>
                      <a:pt x="276139" y="88945"/>
                    </a:lnTo>
                    <a:lnTo>
                      <a:pt x="301051" y="88945"/>
                    </a:lnTo>
                    <a:lnTo>
                      <a:pt x="301051" y="62473"/>
                    </a:lnTo>
                    <a:close/>
                    <a:moveTo>
                      <a:pt x="245804" y="62473"/>
                    </a:moveTo>
                    <a:lnTo>
                      <a:pt x="245804" y="88945"/>
                    </a:lnTo>
                    <a:lnTo>
                      <a:pt x="270716" y="88945"/>
                    </a:lnTo>
                    <a:lnTo>
                      <a:pt x="270716" y="62473"/>
                    </a:lnTo>
                    <a:close/>
                    <a:moveTo>
                      <a:pt x="215702" y="62473"/>
                    </a:moveTo>
                    <a:lnTo>
                      <a:pt x="215702" y="88945"/>
                    </a:lnTo>
                    <a:lnTo>
                      <a:pt x="240614" y="88945"/>
                    </a:lnTo>
                    <a:lnTo>
                      <a:pt x="240614" y="62473"/>
                    </a:lnTo>
                    <a:close/>
                    <a:moveTo>
                      <a:pt x="184303" y="62473"/>
                    </a:moveTo>
                    <a:lnTo>
                      <a:pt x="184303" y="88945"/>
                    </a:lnTo>
                    <a:lnTo>
                      <a:pt x="209215" y="88945"/>
                    </a:lnTo>
                    <a:lnTo>
                      <a:pt x="209215" y="62473"/>
                    </a:lnTo>
                    <a:close/>
                    <a:moveTo>
                      <a:pt x="154202" y="62473"/>
                    </a:moveTo>
                    <a:lnTo>
                      <a:pt x="154202" y="88945"/>
                    </a:lnTo>
                    <a:lnTo>
                      <a:pt x="179114" y="88945"/>
                    </a:lnTo>
                    <a:lnTo>
                      <a:pt x="179114" y="62473"/>
                    </a:lnTo>
                    <a:close/>
                    <a:moveTo>
                      <a:pt x="122811" y="62473"/>
                    </a:moveTo>
                    <a:lnTo>
                      <a:pt x="122811" y="88945"/>
                    </a:lnTo>
                    <a:lnTo>
                      <a:pt x="147723" y="88945"/>
                    </a:lnTo>
                    <a:lnTo>
                      <a:pt x="147723" y="62473"/>
                    </a:lnTo>
                    <a:close/>
                    <a:moveTo>
                      <a:pt x="92710" y="62473"/>
                    </a:moveTo>
                    <a:lnTo>
                      <a:pt x="92710" y="88945"/>
                    </a:lnTo>
                    <a:lnTo>
                      <a:pt x="117622" y="88945"/>
                    </a:lnTo>
                    <a:lnTo>
                      <a:pt x="117622" y="62473"/>
                    </a:lnTo>
                    <a:close/>
                    <a:moveTo>
                      <a:pt x="61311" y="62473"/>
                    </a:moveTo>
                    <a:lnTo>
                      <a:pt x="61311" y="88945"/>
                    </a:lnTo>
                    <a:lnTo>
                      <a:pt x="86223" y="88945"/>
                    </a:lnTo>
                    <a:lnTo>
                      <a:pt x="86223" y="62473"/>
                    </a:lnTo>
                    <a:close/>
                    <a:moveTo>
                      <a:pt x="31209" y="62473"/>
                    </a:moveTo>
                    <a:lnTo>
                      <a:pt x="31209" y="88945"/>
                    </a:lnTo>
                    <a:lnTo>
                      <a:pt x="56121" y="88945"/>
                    </a:lnTo>
                    <a:lnTo>
                      <a:pt x="56121" y="62473"/>
                    </a:lnTo>
                    <a:close/>
                    <a:moveTo>
                      <a:pt x="367741" y="30488"/>
                    </a:moveTo>
                    <a:lnTo>
                      <a:pt x="367741" y="56960"/>
                    </a:lnTo>
                    <a:lnTo>
                      <a:pt x="392653" y="56960"/>
                    </a:lnTo>
                    <a:lnTo>
                      <a:pt x="392653" y="30488"/>
                    </a:lnTo>
                    <a:close/>
                    <a:moveTo>
                      <a:pt x="337639" y="30488"/>
                    </a:moveTo>
                    <a:lnTo>
                      <a:pt x="337639" y="56960"/>
                    </a:lnTo>
                    <a:lnTo>
                      <a:pt x="362551" y="56960"/>
                    </a:lnTo>
                    <a:lnTo>
                      <a:pt x="362551" y="30488"/>
                    </a:lnTo>
                    <a:close/>
                    <a:moveTo>
                      <a:pt x="306240" y="30488"/>
                    </a:moveTo>
                    <a:lnTo>
                      <a:pt x="306240" y="56960"/>
                    </a:lnTo>
                    <a:lnTo>
                      <a:pt x="331152" y="56960"/>
                    </a:lnTo>
                    <a:lnTo>
                      <a:pt x="331152" y="30488"/>
                    </a:lnTo>
                    <a:close/>
                    <a:moveTo>
                      <a:pt x="276139" y="30488"/>
                    </a:moveTo>
                    <a:lnTo>
                      <a:pt x="276139" y="56960"/>
                    </a:lnTo>
                    <a:lnTo>
                      <a:pt x="301051" y="56960"/>
                    </a:lnTo>
                    <a:lnTo>
                      <a:pt x="301051" y="30488"/>
                    </a:lnTo>
                    <a:close/>
                    <a:moveTo>
                      <a:pt x="122811" y="30488"/>
                    </a:moveTo>
                    <a:lnTo>
                      <a:pt x="122811" y="56960"/>
                    </a:lnTo>
                    <a:lnTo>
                      <a:pt x="147723" y="56960"/>
                    </a:lnTo>
                    <a:lnTo>
                      <a:pt x="147723" y="30488"/>
                    </a:lnTo>
                    <a:close/>
                    <a:moveTo>
                      <a:pt x="92710" y="30488"/>
                    </a:moveTo>
                    <a:lnTo>
                      <a:pt x="92710" y="56960"/>
                    </a:lnTo>
                    <a:lnTo>
                      <a:pt x="117622" y="56960"/>
                    </a:lnTo>
                    <a:lnTo>
                      <a:pt x="117622" y="30488"/>
                    </a:lnTo>
                    <a:close/>
                    <a:moveTo>
                      <a:pt x="61311" y="30488"/>
                    </a:moveTo>
                    <a:lnTo>
                      <a:pt x="61311" y="56960"/>
                    </a:lnTo>
                    <a:lnTo>
                      <a:pt x="86223" y="56960"/>
                    </a:lnTo>
                    <a:lnTo>
                      <a:pt x="86223" y="30488"/>
                    </a:lnTo>
                    <a:close/>
                    <a:moveTo>
                      <a:pt x="31209" y="30488"/>
                    </a:moveTo>
                    <a:lnTo>
                      <a:pt x="31209" y="56960"/>
                    </a:lnTo>
                    <a:lnTo>
                      <a:pt x="56121" y="56960"/>
                    </a:lnTo>
                    <a:lnTo>
                      <a:pt x="56121" y="30488"/>
                    </a:lnTo>
                    <a:close/>
                    <a:moveTo>
                      <a:pt x="245804" y="30487"/>
                    </a:moveTo>
                    <a:lnTo>
                      <a:pt x="245804" y="56959"/>
                    </a:lnTo>
                    <a:lnTo>
                      <a:pt x="270716" y="56959"/>
                    </a:lnTo>
                    <a:lnTo>
                      <a:pt x="270716" y="30487"/>
                    </a:lnTo>
                    <a:close/>
                    <a:moveTo>
                      <a:pt x="215702" y="30487"/>
                    </a:moveTo>
                    <a:lnTo>
                      <a:pt x="215702" y="56959"/>
                    </a:lnTo>
                    <a:lnTo>
                      <a:pt x="240614" y="56959"/>
                    </a:lnTo>
                    <a:lnTo>
                      <a:pt x="240614" y="30487"/>
                    </a:lnTo>
                    <a:close/>
                    <a:moveTo>
                      <a:pt x="184303" y="30487"/>
                    </a:moveTo>
                    <a:lnTo>
                      <a:pt x="184303" y="56959"/>
                    </a:lnTo>
                    <a:lnTo>
                      <a:pt x="209215" y="56959"/>
                    </a:lnTo>
                    <a:lnTo>
                      <a:pt x="209215" y="30487"/>
                    </a:lnTo>
                    <a:close/>
                    <a:moveTo>
                      <a:pt x="154202" y="30487"/>
                    </a:moveTo>
                    <a:lnTo>
                      <a:pt x="154202" y="56959"/>
                    </a:lnTo>
                    <a:lnTo>
                      <a:pt x="179114" y="56959"/>
                    </a:lnTo>
                    <a:lnTo>
                      <a:pt x="179114" y="30487"/>
                    </a:lnTo>
                    <a:close/>
                    <a:moveTo>
                      <a:pt x="0" y="0"/>
                    </a:moveTo>
                    <a:lnTo>
                      <a:pt x="423863" y="0"/>
                    </a:lnTo>
                    <a:lnTo>
                      <a:pt x="423863" y="197644"/>
                    </a:lnTo>
                    <a:lnTo>
                      <a:pt x="0" y="19764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 name="Rounded Rectangle 9"/>
              <p:cNvSpPr/>
              <p:nvPr/>
            </p:nvSpPr>
            <p:spPr bwMode="auto">
              <a:xfrm>
                <a:off x="1362009" y="2461991"/>
                <a:ext cx="85791" cy="139633"/>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spTree>
    <p:extLst>
      <p:ext uri="{BB962C8B-B14F-4D97-AF65-F5344CB8AC3E}">
        <p14:creationId xmlns:p14="http://schemas.microsoft.com/office/powerpoint/2010/main" val="2908766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2"/>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99" name="Straight Connector 798"/>
          <p:cNvCxnSpPr/>
          <p:nvPr/>
        </p:nvCxnSpPr>
        <p:spPr>
          <a:xfrm>
            <a:off x="1652588" y="5530835"/>
            <a:ext cx="8864600" cy="0"/>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normAutofit fontScale="90000"/>
          </a:bodyPr>
          <a:lstStyle/>
          <a:p>
            <a:r>
              <a:rPr lang="en-US" dirty="0" smtClean="0"/>
              <a:t>Azure Fabric Controller &amp; VM Recovery</a:t>
            </a:r>
            <a:endParaRPr lang="en-US" dirty="0"/>
          </a:p>
        </p:txBody>
      </p:sp>
      <p:sp>
        <p:nvSpPr>
          <p:cNvPr id="504" name="Fabric Controller"/>
          <p:cNvSpPr/>
          <p:nvPr/>
        </p:nvSpPr>
        <p:spPr bwMode="auto">
          <a:xfrm>
            <a:off x="4590399" y="1123950"/>
            <a:ext cx="2898761" cy="666750"/>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latin typeface="Segoe UI Light" pitchFamily="34" charset="0"/>
              </a:rPr>
              <a:t>Fabric Controller</a:t>
            </a:r>
          </a:p>
        </p:txBody>
      </p:sp>
      <p:sp>
        <p:nvSpPr>
          <p:cNvPr id="505" name="Storage Services"/>
          <p:cNvSpPr/>
          <p:nvPr/>
        </p:nvSpPr>
        <p:spPr bwMode="auto">
          <a:xfrm>
            <a:off x="1927200" y="5594337"/>
            <a:ext cx="8240360" cy="66675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latin typeface="Segoe UI Light" pitchFamily="34" charset="0"/>
              </a:rPr>
              <a:t>Tables / Queues/ Blobs / Azure SQL Database</a:t>
            </a:r>
          </a:p>
        </p:txBody>
      </p:sp>
      <p:grpSp>
        <p:nvGrpSpPr>
          <p:cNvPr id="519" name="Fabric Controller Connectors"/>
          <p:cNvGrpSpPr/>
          <p:nvPr/>
        </p:nvGrpSpPr>
        <p:grpSpPr>
          <a:xfrm>
            <a:off x="2839979" y="1457325"/>
            <a:ext cx="6383647" cy="485841"/>
            <a:chOff x="2838390" y="1457324"/>
            <a:chExt cx="6383647" cy="485841"/>
          </a:xfrm>
        </p:grpSpPr>
        <p:cxnSp>
          <p:nvCxnSpPr>
            <p:cNvPr id="508" name="Elbow Connector 507"/>
            <p:cNvCxnSpPr>
              <a:stCxn id="504" idx="1"/>
              <a:endCxn id="5" idx="0"/>
            </p:cNvCxnSpPr>
            <p:nvPr/>
          </p:nvCxnSpPr>
          <p:spPr>
            <a:xfrm rot="10800000" flipV="1">
              <a:off x="2838390" y="1457324"/>
              <a:ext cx="1750420" cy="485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510" name="Elbow Connector 509"/>
            <p:cNvCxnSpPr>
              <a:stCxn id="504" idx="2"/>
              <a:endCxn id="592" idx="0"/>
            </p:cNvCxnSpPr>
            <p:nvPr/>
          </p:nvCxnSpPr>
          <p:spPr>
            <a:xfrm rot="5400000">
              <a:off x="5426000" y="1330973"/>
              <a:ext cx="152464" cy="107191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12" name="Elbow Connector 511"/>
            <p:cNvCxnSpPr>
              <a:stCxn id="504" idx="2"/>
              <a:endCxn id="620" idx="0"/>
            </p:cNvCxnSpPr>
            <p:nvPr/>
          </p:nvCxnSpPr>
          <p:spPr>
            <a:xfrm rot="16200000" flipH="1">
              <a:off x="6489940" y="1338950"/>
              <a:ext cx="152464" cy="105596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14" name="Elbow Connector 513"/>
            <p:cNvCxnSpPr>
              <a:stCxn id="504" idx="3"/>
              <a:endCxn id="648" idx="0"/>
            </p:cNvCxnSpPr>
            <p:nvPr/>
          </p:nvCxnSpPr>
          <p:spPr>
            <a:xfrm>
              <a:off x="7487571" y="1457325"/>
              <a:ext cx="1734466" cy="485839"/>
            </a:xfrm>
            <a:prstGeom prst="bentConnector2">
              <a:avLst/>
            </a:prstGeom>
          </p:spPr>
          <p:style>
            <a:lnRef idx="1">
              <a:schemeClr val="accent1"/>
            </a:lnRef>
            <a:fillRef idx="0">
              <a:schemeClr val="accent1"/>
            </a:fillRef>
            <a:effectRef idx="0">
              <a:schemeClr val="accent1"/>
            </a:effectRef>
            <a:fontRef idx="minor">
              <a:schemeClr val="tx1"/>
            </a:fontRef>
          </p:style>
        </p:cxnSp>
      </p:grpSp>
      <p:grpSp>
        <p:nvGrpSpPr>
          <p:cNvPr id="679" name="Server Racks"/>
          <p:cNvGrpSpPr/>
          <p:nvPr/>
        </p:nvGrpSpPr>
        <p:grpSpPr>
          <a:xfrm>
            <a:off x="1932165" y="1943164"/>
            <a:ext cx="8199272" cy="3514112"/>
            <a:chOff x="1930577" y="1943164"/>
            <a:chExt cx="8199272" cy="3514112"/>
          </a:xfrm>
        </p:grpSpPr>
        <p:grpSp>
          <p:nvGrpSpPr>
            <p:cNvPr id="647" name="Group 646"/>
            <p:cNvGrpSpPr/>
            <p:nvPr/>
          </p:nvGrpSpPr>
          <p:grpSpPr>
            <a:xfrm>
              <a:off x="8314224" y="1943164"/>
              <a:ext cx="1815625" cy="3514112"/>
              <a:chOff x="1930577" y="1951558"/>
              <a:chExt cx="1815625" cy="3514112"/>
            </a:xfrm>
          </p:grpSpPr>
          <p:sp>
            <p:nvSpPr>
              <p:cNvPr id="648" name="Rounded Rectangle 647"/>
              <p:cNvSpPr/>
              <p:nvPr/>
            </p:nvSpPr>
            <p:spPr bwMode="auto">
              <a:xfrm>
                <a:off x="1930577" y="1951558"/>
                <a:ext cx="1815625" cy="3514112"/>
              </a:xfrm>
              <a:prstGeom prst="roundRect">
                <a:avLst>
                  <a:gd name="adj" fmla="val 5914"/>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solidFill>
                      <a:schemeClr val="tx1">
                        <a:lumMod val="75000"/>
                        <a:lumOff val="25000"/>
                      </a:schemeClr>
                    </a:solidFill>
                    <a:latin typeface="Segoe UI Light" pitchFamily="34" charset="0"/>
                  </a:rPr>
                  <a:t>Server Rack</a:t>
                </a:r>
              </a:p>
            </p:txBody>
          </p:sp>
          <p:sp>
            <p:nvSpPr>
              <p:cNvPr id="649" name="Rectangle 648"/>
              <p:cNvSpPr/>
              <p:nvPr/>
            </p:nvSpPr>
            <p:spPr bwMode="auto">
              <a:xfrm>
                <a:off x="1986503" y="2498197"/>
                <a:ext cx="1703773" cy="42689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pitchFamily="34" charset="0"/>
                  </a:rPr>
                  <a:t> Physical Servers</a:t>
                </a:r>
              </a:p>
            </p:txBody>
          </p:sp>
          <p:grpSp>
            <p:nvGrpSpPr>
              <p:cNvPr id="650" name="Group 649"/>
              <p:cNvGrpSpPr/>
              <p:nvPr/>
            </p:nvGrpSpPr>
            <p:grpSpPr>
              <a:xfrm>
                <a:off x="1986503" y="2960493"/>
                <a:ext cx="1703773" cy="425852"/>
                <a:chOff x="1986503" y="2960493"/>
                <a:chExt cx="1703773" cy="425852"/>
              </a:xfrm>
            </p:grpSpPr>
            <p:sp>
              <p:nvSpPr>
                <p:cNvPr id="671" name="Rectangle 670"/>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72" name="Rectangle 671"/>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73" name="Rectangle 672"/>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51" name="Group 650"/>
              <p:cNvGrpSpPr/>
              <p:nvPr/>
            </p:nvGrpSpPr>
            <p:grpSpPr>
              <a:xfrm>
                <a:off x="1986502" y="3425247"/>
                <a:ext cx="1703773" cy="425852"/>
                <a:chOff x="1986503" y="2960493"/>
                <a:chExt cx="1703773" cy="425852"/>
              </a:xfrm>
            </p:grpSpPr>
            <p:sp>
              <p:nvSpPr>
                <p:cNvPr id="667" name="Rectangle 666"/>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68" name="Rectangle 667"/>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69" name="Rectangle 668"/>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70" name="Rectangle 669"/>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52" name="Group 651"/>
              <p:cNvGrpSpPr/>
              <p:nvPr/>
            </p:nvGrpSpPr>
            <p:grpSpPr>
              <a:xfrm>
                <a:off x="1986501" y="3890001"/>
                <a:ext cx="1703773" cy="425852"/>
                <a:chOff x="1986503" y="2960493"/>
                <a:chExt cx="1703773" cy="425852"/>
              </a:xfrm>
            </p:grpSpPr>
            <p:sp>
              <p:nvSpPr>
                <p:cNvPr id="663" name="Rectangle 66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64" name="Rectangle 663"/>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53" name="Group 652"/>
              <p:cNvGrpSpPr/>
              <p:nvPr/>
            </p:nvGrpSpPr>
            <p:grpSpPr>
              <a:xfrm>
                <a:off x="1986500" y="4354755"/>
                <a:ext cx="1703773" cy="425852"/>
                <a:chOff x="1986503" y="2960493"/>
                <a:chExt cx="1703773" cy="425852"/>
              </a:xfrm>
            </p:grpSpPr>
            <p:sp>
              <p:nvSpPr>
                <p:cNvPr id="659" name="Rectangle 658"/>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61" name="Rectangle 660"/>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62" name="Rectangle 661"/>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54" name="Group 653"/>
              <p:cNvGrpSpPr/>
              <p:nvPr/>
            </p:nvGrpSpPr>
            <p:grpSpPr>
              <a:xfrm>
                <a:off x="1986499" y="4819509"/>
                <a:ext cx="1703773" cy="425852"/>
                <a:chOff x="1986503" y="2960493"/>
                <a:chExt cx="1703773" cy="425852"/>
              </a:xfrm>
            </p:grpSpPr>
            <p:sp>
              <p:nvSpPr>
                <p:cNvPr id="655" name="Rectangle 654"/>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56" name="Rectangle 655"/>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57" name="Rectangle 656"/>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grpSp>
          <p:nvGrpSpPr>
            <p:cNvPr id="591" name="Group 590"/>
            <p:cNvGrpSpPr/>
            <p:nvPr/>
          </p:nvGrpSpPr>
          <p:grpSpPr>
            <a:xfrm>
              <a:off x="4058459" y="1943164"/>
              <a:ext cx="1815625" cy="3514112"/>
              <a:chOff x="1930577" y="1951558"/>
              <a:chExt cx="1815625" cy="3514112"/>
            </a:xfrm>
          </p:grpSpPr>
          <p:sp>
            <p:nvSpPr>
              <p:cNvPr id="592" name="Rounded Rectangle 591"/>
              <p:cNvSpPr/>
              <p:nvPr/>
            </p:nvSpPr>
            <p:spPr bwMode="auto">
              <a:xfrm>
                <a:off x="1930577" y="1951558"/>
                <a:ext cx="1815625" cy="3514112"/>
              </a:xfrm>
              <a:prstGeom prst="roundRect">
                <a:avLst>
                  <a:gd name="adj" fmla="val 5914"/>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solidFill>
                      <a:schemeClr val="tx1">
                        <a:lumMod val="75000"/>
                        <a:lumOff val="25000"/>
                      </a:schemeClr>
                    </a:solidFill>
                    <a:latin typeface="Segoe UI Light" pitchFamily="34" charset="0"/>
                  </a:rPr>
                  <a:t>Server Rack</a:t>
                </a:r>
              </a:p>
            </p:txBody>
          </p:sp>
          <p:sp>
            <p:nvSpPr>
              <p:cNvPr id="593" name="Rectangle 592"/>
              <p:cNvSpPr/>
              <p:nvPr/>
            </p:nvSpPr>
            <p:spPr bwMode="auto">
              <a:xfrm>
                <a:off x="1986503" y="2498197"/>
                <a:ext cx="1703773" cy="42689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pitchFamily="34" charset="0"/>
                  </a:rPr>
                  <a:t> Physical Servers</a:t>
                </a:r>
              </a:p>
            </p:txBody>
          </p:sp>
          <p:grpSp>
            <p:nvGrpSpPr>
              <p:cNvPr id="594" name="Group 593"/>
              <p:cNvGrpSpPr/>
              <p:nvPr/>
            </p:nvGrpSpPr>
            <p:grpSpPr>
              <a:xfrm>
                <a:off x="1986503" y="2960493"/>
                <a:ext cx="1703773" cy="425852"/>
                <a:chOff x="1986503" y="2960493"/>
                <a:chExt cx="1703773" cy="425852"/>
              </a:xfrm>
            </p:grpSpPr>
            <p:sp>
              <p:nvSpPr>
                <p:cNvPr id="615" name="Rectangle 614"/>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17" name="Rectangle 616"/>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18" name="Rectangle 617"/>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95" name="Group 594"/>
              <p:cNvGrpSpPr/>
              <p:nvPr/>
            </p:nvGrpSpPr>
            <p:grpSpPr>
              <a:xfrm>
                <a:off x="1986502" y="3425247"/>
                <a:ext cx="1703773" cy="425852"/>
                <a:chOff x="1986503" y="2960493"/>
                <a:chExt cx="1703773" cy="425852"/>
              </a:xfrm>
            </p:grpSpPr>
            <p:sp>
              <p:nvSpPr>
                <p:cNvPr id="611" name="Rectangle 610"/>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12" name="Rectangle 611"/>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13" name="Rectangle 612"/>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96" name="Group 595"/>
              <p:cNvGrpSpPr/>
              <p:nvPr/>
            </p:nvGrpSpPr>
            <p:grpSpPr>
              <a:xfrm>
                <a:off x="1986501" y="3890001"/>
                <a:ext cx="1703773" cy="425852"/>
                <a:chOff x="1986503" y="2960493"/>
                <a:chExt cx="1703773" cy="425852"/>
              </a:xfrm>
            </p:grpSpPr>
            <p:sp>
              <p:nvSpPr>
                <p:cNvPr id="607" name="Rectangle 606"/>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08" name="Rectangle 607"/>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09" name="Rectangle 608"/>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10" name="Rectangle 609"/>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97" name="Group 596"/>
              <p:cNvGrpSpPr/>
              <p:nvPr/>
            </p:nvGrpSpPr>
            <p:grpSpPr>
              <a:xfrm>
                <a:off x="1986500" y="4354755"/>
                <a:ext cx="1703773" cy="425852"/>
                <a:chOff x="1986503" y="2960493"/>
                <a:chExt cx="1703773" cy="425852"/>
              </a:xfrm>
            </p:grpSpPr>
            <p:sp>
              <p:nvSpPr>
                <p:cNvPr id="603" name="Rectangle 60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04" name="Rectangle 603"/>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98" name="Group 597"/>
              <p:cNvGrpSpPr/>
              <p:nvPr/>
            </p:nvGrpSpPr>
            <p:grpSpPr>
              <a:xfrm>
                <a:off x="1986499" y="4819509"/>
                <a:ext cx="1703773" cy="425852"/>
                <a:chOff x="1986503" y="2960493"/>
                <a:chExt cx="1703773" cy="425852"/>
              </a:xfrm>
            </p:grpSpPr>
            <p:sp>
              <p:nvSpPr>
                <p:cNvPr id="599" name="Rectangle 598"/>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00" name="Rectangle 599"/>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01" name="Rectangle 600"/>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02" name="Rectangle 601"/>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grpSp>
          <p:nvGrpSpPr>
            <p:cNvPr id="562" name="Group 561"/>
            <p:cNvGrpSpPr/>
            <p:nvPr/>
          </p:nvGrpSpPr>
          <p:grpSpPr>
            <a:xfrm>
              <a:off x="1930577" y="1943164"/>
              <a:ext cx="1815625" cy="3514112"/>
              <a:chOff x="1930577" y="1951558"/>
              <a:chExt cx="1815625" cy="3514112"/>
            </a:xfrm>
          </p:grpSpPr>
          <p:sp>
            <p:nvSpPr>
              <p:cNvPr id="5" name="Rounded Rectangle 4"/>
              <p:cNvSpPr/>
              <p:nvPr/>
            </p:nvSpPr>
            <p:spPr bwMode="auto">
              <a:xfrm>
                <a:off x="1930577" y="1951558"/>
                <a:ext cx="1815625" cy="3514112"/>
              </a:xfrm>
              <a:prstGeom prst="roundRect">
                <a:avLst>
                  <a:gd name="adj" fmla="val 5914"/>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solidFill>
                      <a:schemeClr val="tx1">
                        <a:lumMod val="75000"/>
                        <a:lumOff val="25000"/>
                      </a:schemeClr>
                    </a:solidFill>
                    <a:latin typeface="Segoe UI Light" pitchFamily="34" charset="0"/>
                  </a:rPr>
                  <a:t>Server Rack</a:t>
                </a:r>
              </a:p>
            </p:txBody>
          </p:sp>
          <p:sp>
            <p:nvSpPr>
              <p:cNvPr id="6" name="Rectangle 5"/>
              <p:cNvSpPr/>
              <p:nvPr/>
            </p:nvSpPr>
            <p:spPr bwMode="auto">
              <a:xfrm>
                <a:off x="1986503" y="2498197"/>
                <a:ext cx="1703773" cy="42689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pitchFamily="34" charset="0"/>
                  </a:rPr>
                  <a:t> Physical Servers</a:t>
                </a:r>
              </a:p>
            </p:txBody>
          </p:sp>
          <p:grpSp>
            <p:nvGrpSpPr>
              <p:cNvPr id="521" name="Group 520"/>
              <p:cNvGrpSpPr/>
              <p:nvPr/>
            </p:nvGrpSpPr>
            <p:grpSpPr>
              <a:xfrm>
                <a:off x="1986503" y="2960493"/>
                <a:ext cx="1703773" cy="425852"/>
                <a:chOff x="1986503" y="2960493"/>
                <a:chExt cx="1703773" cy="425852"/>
              </a:xfrm>
            </p:grpSpPr>
            <p:sp>
              <p:nvSpPr>
                <p:cNvPr id="21" name="Rectangle 20"/>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22" name="Rectangle 21"/>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24" name="Rectangle 23"/>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42" name="Group 541"/>
              <p:cNvGrpSpPr/>
              <p:nvPr/>
            </p:nvGrpSpPr>
            <p:grpSpPr>
              <a:xfrm>
                <a:off x="1986502" y="3425247"/>
                <a:ext cx="1703773" cy="425852"/>
                <a:chOff x="1986503" y="2960493"/>
                <a:chExt cx="1703773" cy="425852"/>
              </a:xfrm>
            </p:grpSpPr>
            <p:sp>
              <p:nvSpPr>
                <p:cNvPr id="543" name="Rectangle 54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544" name="Rectangle 543"/>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545" name="Rectangle 544"/>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546" name="Rectangle 545"/>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47" name="Group 546"/>
              <p:cNvGrpSpPr/>
              <p:nvPr/>
            </p:nvGrpSpPr>
            <p:grpSpPr>
              <a:xfrm>
                <a:off x="1986501" y="3890001"/>
                <a:ext cx="1703773" cy="425852"/>
                <a:chOff x="1986503" y="2960493"/>
                <a:chExt cx="1703773" cy="425852"/>
              </a:xfrm>
            </p:grpSpPr>
            <p:sp>
              <p:nvSpPr>
                <p:cNvPr id="548" name="Rectangle 547"/>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549" name="Rectangle 548"/>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52" name="Group 551"/>
              <p:cNvGrpSpPr/>
              <p:nvPr/>
            </p:nvGrpSpPr>
            <p:grpSpPr>
              <a:xfrm>
                <a:off x="1986500" y="4354755"/>
                <a:ext cx="1703773" cy="425852"/>
                <a:chOff x="1986503" y="2960493"/>
                <a:chExt cx="1703773" cy="425852"/>
              </a:xfrm>
            </p:grpSpPr>
            <p:sp>
              <p:nvSpPr>
                <p:cNvPr id="553" name="Rectangle 55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555" name="Rectangle 554"/>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556" name="Rectangle 555"/>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57" name="Group 556"/>
              <p:cNvGrpSpPr/>
              <p:nvPr/>
            </p:nvGrpSpPr>
            <p:grpSpPr>
              <a:xfrm>
                <a:off x="1986499" y="4819509"/>
                <a:ext cx="1703773" cy="425852"/>
                <a:chOff x="1986503" y="2960493"/>
                <a:chExt cx="1703773" cy="425852"/>
              </a:xfrm>
            </p:grpSpPr>
            <p:sp>
              <p:nvSpPr>
                <p:cNvPr id="558" name="Rectangle 557"/>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559" name="Rectangle 558"/>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grpSp>
          <p:nvGrpSpPr>
            <p:cNvPr id="619" name="Group 618"/>
            <p:cNvGrpSpPr/>
            <p:nvPr/>
          </p:nvGrpSpPr>
          <p:grpSpPr>
            <a:xfrm>
              <a:off x="6186341" y="1943164"/>
              <a:ext cx="1815625" cy="3514112"/>
              <a:chOff x="1930577" y="1951558"/>
              <a:chExt cx="1815625" cy="3514112"/>
            </a:xfrm>
          </p:grpSpPr>
          <p:sp>
            <p:nvSpPr>
              <p:cNvPr id="620" name="Rounded Rectangle 619"/>
              <p:cNvSpPr/>
              <p:nvPr/>
            </p:nvSpPr>
            <p:spPr bwMode="auto">
              <a:xfrm>
                <a:off x="1930577" y="1951558"/>
                <a:ext cx="1815625" cy="3514112"/>
              </a:xfrm>
              <a:prstGeom prst="roundRect">
                <a:avLst>
                  <a:gd name="adj" fmla="val 5914"/>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solidFill>
                      <a:schemeClr val="tx1">
                        <a:lumMod val="75000"/>
                        <a:lumOff val="25000"/>
                      </a:schemeClr>
                    </a:solidFill>
                    <a:latin typeface="Segoe UI Light" pitchFamily="34" charset="0"/>
                  </a:rPr>
                  <a:t>Server Rack</a:t>
                </a:r>
              </a:p>
            </p:txBody>
          </p:sp>
          <p:sp>
            <p:nvSpPr>
              <p:cNvPr id="621" name="Rectangle 620"/>
              <p:cNvSpPr/>
              <p:nvPr/>
            </p:nvSpPr>
            <p:spPr bwMode="auto">
              <a:xfrm>
                <a:off x="1986503" y="2498197"/>
                <a:ext cx="1703773" cy="42689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pitchFamily="34" charset="0"/>
                  </a:rPr>
                  <a:t> Physical Servers</a:t>
                </a:r>
              </a:p>
            </p:txBody>
          </p:sp>
          <p:grpSp>
            <p:nvGrpSpPr>
              <p:cNvPr id="622" name="Group 621"/>
              <p:cNvGrpSpPr/>
              <p:nvPr/>
            </p:nvGrpSpPr>
            <p:grpSpPr>
              <a:xfrm>
                <a:off x="1986503" y="2960493"/>
                <a:ext cx="1703773" cy="425852"/>
                <a:chOff x="1986503" y="2960493"/>
                <a:chExt cx="1703773" cy="425852"/>
              </a:xfrm>
            </p:grpSpPr>
            <p:sp>
              <p:nvSpPr>
                <p:cNvPr id="643" name="Rectangle 64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44" name="Rectangle 643"/>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23" name="Group 622"/>
              <p:cNvGrpSpPr/>
              <p:nvPr/>
            </p:nvGrpSpPr>
            <p:grpSpPr>
              <a:xfrm>
                <a:off x="1986502" y="3425247"/>
                <a:ext cx="1703773" cy="425852"/>
                <a:chOff x="1986503" y="2960493"/>
                <a:chExt cx="1703773" cy="425852"/>
              </a:xfrm>
            </p:grpSpPr>
            <p:sp>
              <p:nvSpPr>
                <p:cNvPr id="639" name="Rectangle 638"/>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40" name="Rectangle 639"/>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24" name="Group 623"/>
              <p:cNvGrpSpPr/>
              <p:nvPr/>
            </p:nvGrpSpPr>
            <p:grpSpPr>
              <a:xfrm>
                <a:off x="1986501" y="3890001"/>
                <a:ext cx="1703773" cy="425852"/>
                <a:chOff x="1986503" y="2960493"/>
                <a:chExt cx="1703773" cy="425852"/>
              </a:xfrm>
            </p:grpSpPr>
            <p:sp>
              <p:nvSpPr>
                <p:cNvPr id="635" name="Rectangle 634"/>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36" name="Rectangle 635"/>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37" name="Rectangle 636"/>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25" name="Group 624"/>
              <p:cNvGrpSpPr/>
              <p:nvPr/>
            </p:nvGrpSpPr>
            <p:grpSpPr>
              <a:xfrm>
                <a:off x="1986500" y="4354755"/>
                <a:ext cx="1703773" cy="425852"/>
                <a:chOff x="1986503" y="2960493"/>
                <a:chExt cx="1703773" cy="425852"/>
              </a:xfrm>
            </p:grpSpPr>
            <p:sp>
              <p:nvSpPr>
                <p:cNvPr id="631" name="Rectangle 630"/>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32" name="Rectangle 631"/>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33" name="Rectangle 632"/>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26" name="Group 625"/>
              <p:cNvGrpSpPr/>
              <p:nvPr/>
            </p:nvGrpSpPr>
            <p:grpSpPr>
              <a:xfrm>
                <a:off x="1986499" y="4819509"/>
                <a:ext cx="1703773" cy="425852"/>
                <a:chOff x="1986503" y="2960493"/>
                <a:chExt cx="1703773" cy="425852"/>
              </a:xfrm>
            </p:grpSpPr>
            <p:sp>
              <p:nvSpPr>
                <p:cNvPr id="627" name="Rectangle 626"/>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28" name="Rectangle 627"/>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29" name="Rectangle 628"/>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30" name="Rectangle 629"/>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grpSp>
      <p:sp>
        <p:nvSpPr>
          <p:cNvPr id="776" name="Original Good VM"/>
          <p:cNvSpPr/>
          <p:nvPr/>
        </p:nvSpPr>
        <p:spPr bwMode="auto">
          <a:xfrm>
            <a:off x="2587163" y="3944032"/>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cxnSp>
        <p:nvCxnSpPr>
          <p:cNvPr id="778" name="Original Good VM Storage Connector"/>
          <p:cNvCxnSpPr/>
          <p:nvPr/>
        </p:nvCxnSpPr>
        <p:spPr>
          <a:xfrm rot="16200000" flipH="1">
            <a:off x="2739591" y="4447725"/>
            <a:ext cx="1499807" cy="793420"/>
          </a:xfrm>
          <a:prstGeom prst="bentConnector3">
            <a:avLst>
              <a:gd name="adj1" fmla="val 675"/>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790" name="Bad VM"/>
          <p:cNvSpPr/>
          <p:nvPr/>
        </p:nvSpPr>
        <p:spPr bwMode="auto">
          <a:xfrm>
            <a:off x="2587168" y="3944032"/>
            <a:ext cx="505620" cy="30341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sp>
        <p:nvSpPr>
          <p:cNvPr id="791" name="Recycled Good VM"/>
          <p:cNvSpPr/>
          <p:nvPr/>
        </p:nvSpPr>
        <p:spPr bwMode="auto">
          <a:xfrm>
            <a:off x="4163599" y="3013316"/>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cxnSp>
        <p:nvCxnSpPr>
          <p:cNvPr id="793" name="Recycled Good VM Storage Connector"/>
          <p:cNvCxnSpPr>
            <a:stCxn id="791" idx="1"/>
          </p:cNvCxnSpPr>
          <p:nvPr/>
        </p:nvCxnSpPr>
        <p:spPr>
          <a:xfrm rot="10800000" flipV="1">
            <a:off x="3886209" y="3165025"/>
            <a:ext cx="277390" cy="2429311"/>
          </a:xfrm>
          <a:prstGeom prst="bentConnector2">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795" name="Third Good VM"/>
          <p:cNvSpPr/>
          <p:nvPr/>
        </p:nvSpPr>
        <p:spPr bwMode="auto">
          <a:xfrm>
            <a:off x="6842927" y="3478070"/>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cxnSp>
        <p:nvCxnSpPr>
          <p:cNvPr id="796" name="Third Good VM Storage Connector"/>
          <p:cNvCxnSpPr>
            <a:stCxn id="795" idx="3"/>
          </p:cNvCxnSpPr>
          <p:nvPr/>
        </p:nvCxnSpPr>
        <p:spPr>
          <a:xfrm>
            <a:off x="7348548" y="3629779"/>
            <a:ext cx="791837" cy="1992456"/>
          </a:xfrm>
          <a:prstGeom prst="bentConnector2">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800" name="Third Good VM"/>
          <p:cNvSpPr/>
          <p:nvPr/>
        </p:nvSpPr>
        <p:spPr bwMode="auto">
          <a:xfrm>
            <a:off x="8419364" y="4407578"/>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sp>
        <p:nvSpPr>
          <p:cNvPr id="801" name="Third Good VM"/>
          <p:cNvSpPr/>
          <p:nvPr/>
        </p:nvSpPr>
        <p:spPr bwMode="auto">
          <a:xfrm>
            <a:off x="2587168" y="4872332"/>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cxnSp>
        <p:nvCxnSpPr>
          <p:cNvPr id="802" name="Third Good VM Storage Connector"/>
          <p:cNvCxnSpPr>
            <a:stCxn id="800" idx="1"/>
          </p:cNvCxnSpPr>
          <p:nvPr/>
        </p:nvCxnSpPr>
        <p:spPr>
          <a:xfrm rot="10800000" flipV="1">
            <a:off x="8144835" y="4559287"/>
            <a:ext cx="274531" cy="1062948"/>
          </a:xfrm>
          <a:prstGeom prst="bentConnector2">
            <a:avLst/>
          </a:prstGeom>
          <a:ln w="57150">
            <a:tailEnd type="arrow"/>
          </a:ln>
        </p:spPr>
        <p:style>
          <a:lnRef idx="1">
            <a:schemeClr val="accent1"/>
          </a:lnRef>
          <a:fillRef idx="0">
            <a:schemeClr val="accent1"/>
          </a:fillRef>
          <a:effectRef idx="0">
            <a:schemeClr val="accent1"/>
          </a:effectRef>
          <a:fontRef idx="minor">
            <a:schemeClr val="tx1"/>
          </a:fontRef>
        </p:style>
      </p:cxnSp>
      <p:cxnSp>
        <p:nvCxnSpPr>
          <p:cNvPr id="804" name="Third Good VM Storage Connector"/>
          <p:cNvCxnSpPr>
            <a:stCxn id="801" idx="3"/>
          </p:cNvCxnSpPr>
          <p:nvPr/>
        </p:nvCxnSpPr>
        <p:spPr>
          <a:xfrm>
            <a:off x="3092789" y="5024041"/>
            <a:ext cx="793417" cy="570298"/>
          </a:xfrm>
          <a:prstGeom prst="bentConnector3">
            <a:avLst>
              <a:gd name="adj1" fmla="val 99821"/>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114" name="Data in Storage"/>
          <p:cNvSpPr/>
          <p:nvPr/>
        </p:nvSpPr>
        <p:spPr bwMode="auto">
          <a:xfrm>
            <a:off x="2035721" y="5708203"/>
            <a:ext cx="908554" cy="439019"/>
          </a:xfrm>
          <a:prstGeom prst="round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latin typeface="Segoe UI Light" pitchFamily="34" charset="0"/>
              </a:rPr>
              <a:t>Data</a:t>
            </a:r>
            <a:endParaRPr lang="en-US" sz="1600" dirty="0">
              <a:gradFill>
                <a:gsLst>
                  <a:gs pos="0">
                    <a:srgbClr val="FFFFFF"/>
                  </a:gs>
                  <a:gs pos="100000">
                    <a:srgbClr val="FFFFFF"/>
                  </a:gs>
                </a:gsLst>
                <a:lin ang="5400000" scaled="0"/>
              </a:gradFill>
              <a:latin typeface="Consolas" pitchFamily="49" charset="0"/>
              <a:cs typeface="Consolas" pitchFamily="49" charset="0"/>
            </a:endParaRPr>
          </a:p>
        </p:txBody>
      </p:sp>
      <p:sp>
        <p:nvSpPr>
          <p:cNvPr id="117" name="Data in Storage"/>
          <p:cNvSpPr/>
          <p:nvPr/>
        </p:nvSpPr>
        <p:spPr bwMode="auto">
          <a:xfrm>
            <a:off x="9119324" y="5708202"/>
            <a:ext cx="908554" cy="439019"/>
          </a:xfrm>
          <a:prstGeom prst="round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latin typeface="Segoe UI Light" pitchFamily="34" charset="0"/>
              </a:rPr>
              <a:t>Data</a:t>
            </a:r>
            <a:endParaRPr lang="en-US" sz="1600" dirty="0">
              <a:gradFill>
                <a:gsLst>
                  <a:gs pos="0">
                    <a:srgbClr val="FFFFFF"/>
                  </a:gs>
                  <a:gs pos="100000">
                    <a:srgbClr val="FFFFFF"/>
                  </a:gs>
                </a:gsLst>
                <a:lin ang="5400000" scaled="0"/>
              </a:gradFill>
              <a:latin typeface="Consolas" pitchFamily="49" charset="0"/>
              <a:cs typeface="Consolas" pitchFamily="49" charset="0"/>
            </a:endParaRPr>
          </a:p>
        </p:txBody>
      </p:sp>
    </p:spTree>
    <p:extLst>
      <p:ext uri="{BB962C8B-B14F-4D97-AF65-F5344CB8AC3E}">
        <p14:creationId xmlns:p14="http://schemas.microsoft.com/office/powerpoint/2010/main" val="766523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79"/>
                                        </p:tgtEl>
                                        <p:attrNameLst>
                                          <p:attrName>style.visibility</p:attrName>
                                        </p:attrNameLst>
                                      </p:cBhvr>
                                      <p:to>
                                        <p:strVal val="visible"/>
                                      </p:to>
                                    </p:set>
                                    <p:animEffect transition="in" filter="fade">
                                      <p:cBhvr>
                                        <p:cTn id="7" dur="500"/>
                                        <p:tgtEl>
                                          <p:spTgt spid="67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04"/>
                                        </p:tgtEl>
                                        <p:attrNameLst>
                                          <p:attrName>style.visibility</p:attrName>
                                        </p:attrNameLst>
                                      </p:cBhvr>
                                      <p:to>
                                        <p:strVal val="visible"/>
                                      </p:to>
                                    </p:set>
                                    <p:animEffect transition="in" filter="fade">
                                      <p:cBhvr>
                                        <p:cTn id="12" dur="500"/>
                                        <p:tgtEl>
                                          <p:spTgt spid="504"/>
                                        </p:tgtEl>
                                      </p:cBhvr>
                                    </p:animEffect>
                                  </p:childTnLst>
                                </p:cTn>
                              </p:par>
                              <p:par>
                                <p:cTn id="13" presetID="10" presetClass="entr" presetSubtype="0" fill="hold" nodeType="withEffect">
                                  <p:stCondLst>
                                    <p:cond delay="0"/>
                                  </p:stCondLst>
                                  <p:childTnLst>
                                    <p:set>
                                      <p:cBhvr>
                                        <p:cTn id="14" dur="1" fill="hold">
                                          <p:stCondLst>
                                            <p:cond delay="0"/>
                                          </p:stCondLst>
                                        </p:cTn>
                                        <p:tgtEl>
                                          <p:spTgt spid="519"/>
                                        </p:tgtEl>
                                        <p:attrNameLst>
                                          <p:attrName>style.visibility</p:attrName>
                                        </p:attrNameLst>
                                      </p:cBhvr>
                                      <p:to>
                                        <p:strVal val="visible"/>
                                      </p:to>
                                    </p:set>
                                    <p:animEffect transition="in" filter="fade">
                                      <p:cBhvr>
                                        <p:cTn id="15" dur="500"/>
                                        <p:tgtEl>
                                          <p:spTgt spid="51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99"/>
                                        </p:tgtEl>
                                        <p:attrNameLst>
                                          <p:attrName>style.visibility</p:attrName>
                                        </p:attrNameLst>
                                      </p:cBhvr>
                                      <p:to>
                                        <p:strVal val="visible"/>
                                      </p:to>
                                    </p:set>
                                    <p:animEffect transition="in" filter="fade">
                                      <p:cBhvr>
                                        <p:cTn id="20" dur="500"/>
                                        <p:tgtEl>
                                          <p:spTgt spid="79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05"/>
                                        </p:tgtEl>
                                        <p:attrNameLst>
                                          <p:attrName>style.visibility</p:attrName>
                                        </p:attrNameLst>
                                      </p:cBhvr>
                                      <p:to>
                                        <p:strVal val="visible"/>
                                      </p:to>
                                    </p:set>
                                    <p:animEffect transition="in" filter="fade">
                                      <p:cBhvr>
                                        <p:cTn id="23" dur="500"/>
                                        <p:tgtEl>
                                          <p:spTgt spid="50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776"/>
                                        </p:tgtEl>
                                        <p:attrNameLst>
                                          <p:attrName>style.visibility</p:attrName>
                                        </p:attrNameLst>
                                      </p:cBhvr>
                                      <p:to>
                                        <p:strVal val="visible"/>
                                      </p:to>
                                    </p:set>
                                    <p:animEffect transition="in" filter="fade">
                                      <p:cBhvr>
                                        <p:cTn id="28" dur="500"/>
                                        <p:tgtEl>
                                          <p:spTgt spid="776"/>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790"/>
                                        </p:tgtEl>
                                        <p:attrNameLst>
                                          <p:attrName>style.visibility</p:attrName>
                                        </p:attrNameLst>
                                      </p:cBhvr>
                                      <p:to>
                                        <p:strVal val="visible"/>
                                      </p:to>
                                    </p:set>
                                    <p:animEffect transition="in" filter="fade">
                                      <p:cBhvr>
                                        <p:cTn id="33" dur="500"/>
                                        <p:tgtEl>
                                          <p:spTgt spid="790"/>
                                        </p:tgtEl>
                                      </p:cBhvr>
                                    </p:animEffect>
                                  </p:childTnLst>
                                </p:cTn>
                              </p:par>
                            </p:childTnLst>
                          </p:cTn>
                        </p:par>
                        <p:par>
                          <p:cTn id="34" fill="hold">
                            <p:stCondLst>
                              <p:cond delay="500"/>
                            </p:stCondLst>
                            <p:childTnLst>
                              <p:par>
                                <p:cTn id="35" presetID="10" presetClass="exit" presetSubtype="0" fill="hold" grpId="2" nodeType="afterEffect">
                                  <p:stCondLst>
                                    <p:cond delay="0"/>
                                  </p:stCondLst>
                                  <p:childTnLst>
                                    <p:animEffect transition="out" filter="fade">
                                      <p:cBhvr>
                                        <p:cTn id="36" dur="500"/>
                                        <p:tgtEl>
                                          <p:spTgt spid="776"/>
                                        </p:tgtEl>
                                      </p:cBhvr>
                                    </p:animEffect>
                                    <p:set>
                                      <p:cBhvr>
                                        <p:cTn id="37" dur="1" fill="hold">
                                          <p:stCondLst>
                                            <p:cond delay="499"/>
                                          </p:stCondLst>
                                        </p:cTn>
                                        <p:tgtEl>
                                          <p:spTgt spid="776"/>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2" nodeType="clickEffect">
                                  <p:stCondLst>
                                    <p:cond delay="0"/>
                                  </p:stCondLst>
                                  <p:childTnLst>
                                    <p:animEffect transition="out" filter="fade">
                                      <p:cBhvr>
                                        <p:cTn id="41" dur="500"/>
                                        <p:tgtEl>
                                          <p:spTgt spid="790"/>
                                        </p:tgtEl>
                                      </p:cBhvr>
                                    </p:animEffect>
                                    <p:set>
                                      <p:cBhvr>
                                        <p:cTn id="42" dur="1" fill="hold">
                                          <p:stCondLst>
                                            <p:cond delay="499"/>
                                          </p:stCondLst>
                                        </p:cTn>
                                        <p:tgtEl>
                                          <p:spTgt spid="790"/>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3" nodeType="clickEffect">
                                  <p:stCondLst>
                                    <p:cond delay="0"/>
                                  </p:stCondLst>
                                  <p:childTnLst>
                                    <p:set>
                                      <p:cBhvr>
                                        <p:cTn id="46" dur="1" fill="hold">
                                          <p:stCondLst>
                                            <p:cond delay="0"/>
                                          </p:stCondLst>
                                        </p:cTn>
                                        <p:tgtEl>
                                          <p:spTgt spid="776"/>
                                        </p:tgtEl>
                                        <p:attrNameLst>
                                          <p:attrName>style.visibility</p:attrName>
                                        </p:attrNameLst>
                                      </p:cBhvr>
                                      <p:to>
                                        <p:strVal val="visible"/>
                                      </p:to>
                                    </p:set>
                                    <p:animEffect transition="in" filter="fade">
                                      <p:cBhvr>
                                        <p:cTn id="47" dur="500"/>
                                        <p:tgtEl>
                                          <p:spTgt spid="77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778"/>
                                        </p:tgtEl>
                                        <p:attrNameLst>
                                          <p:attrName>style.visibility</p:attrName>
                                        </p:attrNameLst>
                                      </p:cBhvr>
                                      <p:to>
                                        <p:strVal val="visible"/>
                                      </p:to>
                                    </p:set>
                                    <p:animEffect transition="in" filter="fade">
                                      <p:cBhvr>
                                        <p:cTn id="52" dur="500"/>
                                        <p:tgtEl>
                                          <p:spTgt spid="77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17"/>
                                        </p:tgtEl>
                                        <p:attrNameLst>
                                          <p:attrName>style.visibility</p:attrName>
                                        </p:attrNameLst>
                                      </p:cBhvr>
                                      <p:to>
                                        <p:strVal val="visible"/>
                                      </p:to>
                                    </p:set>
                                    <p:animEffect transition="in" filter="fade">
                                      <p:cBhvr>
                                        <p:cTn id="58" dur="500"/>
                                        <p:tgtEl>
                                          <p:spTgt spid="117"/>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3" nodeType="clickEffect">
                                  <p:stCondLst>
                                    <p:cond delay="0"/>
                                  </p:stCondLst>
                                  <p:childTnLst>
                                    <p:set>
                                      <p:cBhvr>
                                        <p:cTn id="62" dur="1" fill="hold">
                                          <p:stCondLst>
                                            <p:cond delay="0"/>
                                          </p:stCondLst>
                                        </p:cTn>
                                        <p:tgtEl>
                                          <p:spTgt spid="790"/>
                                        </p:tgtEl>
                                        <p:attrNameLst>
                                          <p:attrName>style.visibility</p:attrName>
                                        </p:attrNameLst>
                                      </p:cBhvr>
                                      <p:to>
                                        <p:strVal val="visible"/>
                                      </p:to>
                                    </p:set>
                                    <p:animEffect transition="in" filter="fade">
                                      <p:cBhvr>
                                        <p:cTn id="63" dur="500"/>
                                        <p:tgtEl>
                                          <p:spTgt spid="790"/>
                                        </p:tgtEl>
                                      </p:cBhvr>
                                    </p:animEffect>
                                  </p:childTnLst>
                                </p:cTn>
                              </p:par>
                            </p:childTnLst>
                          </p:cTn>
                        </p:par>
                        <p:par>
                          <p:cTn id="64" fill="hold">
                            <p:stCondLst>
                              <p:cond delay="500"/>
                            </p:stCondLst>
                            <p:childTnLst>
                              <p:par>
                                <p:cTn id="65" presetID="10" presetClass="exit" presetSubtype="0" fill="hold" grpId="1" nodeType="afterEffect">
                                  <p:stCondLst>
                                    <p:cond delay="0"/>
                                  </p:stCondLst>
                                  <p:childTnLst>
                                    <p:animEffect transition="out" filter="fade">
                                      <p:cBhvr>
                                        <p:cTn id="66" dur="500"/>
                                        <p:tgtEl>
                                          <p:spTgt spid="776"/>
                                        </p:tgtEl>
                                      </p:cBhvr>
                                    </p:animEffect>
                                    <p:set>
                                      <p:cBhvr>
                                        <p:cTn id="67" dur="1" fill="hold">
                                          <p:stCondLst>
                                            <p:cond delay="499"/>
                                          </p:stCondLst>
                                        </p:cTn>
                                        <p:tgtEl>
                                          <p:spTgt spid="776"/>
                                        </p:tgtEl>
                                        <p:attrNameLst>
                                          <p:attrName>style.visibility</p:attrName>
                                        </p:attrNameLst>
                                      </p:cBhvr>
                                      <p:to>
                                        <p:strVal val="hidden"/>
                                      </p:to>
                                    </p:se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nodeType="clickEffect">
                                  <p:stCondLst>
                                    <p:cond delay="0"/>
                                  </p:stCondLst>
                                  <p:childTnLst>
                                    <p:animEffect transition="out" filter="fade">
                                      <p:cBhvr>
                                        <p:cTn id="71" dur="500"/>
                                        <p:tgtEl>
                                          <p:spTgt spid="778"/>
                                        </p:tgtEl>
                                      </p:cBhvr>
                                    </p:animEffect>
                                    <p:set>
                                      <p:cBhvr>
                                        <p:cTn id="72" dur="1" fill="hold">
                                          <p:stCondLst>
                                            <p:cond delay="499"/>
                                          </p:stCondLst>
                                        </p:cTn>
                                        <p:tgtEl>
                                          <p:spTgt spid="778"/>
                                        </p:tgtEl>
                                        <p:attrNameLst>
                                          <p:attrName>style.visibility</p:attrName>
                                        </p:attrNameLst>
                                      </p:cBhvr>
                                      <p:to>
                                        <p:strVal val="hidden"/>
                                      </p:to>
                                    </p:set>
                                  </p:childTnLst>
                                </p:cTn>
                              </p:par>
                              <p:par>
                                <p:cTn id="73" presetID="10" presetClass="exit" presetSubtype="0" fill="hold" grpId="1" nodeType="withEffect">
                                  <p:stCondLst>
                                    <p:cond delay="0"/>
                                  </p:stCondLst>
                                  <p:childTnLst>
                                    <p:animEffect transition="out" filter="fade">
                                      <p:cBhvr>
                                        <p:cTn id="74" dur="500"/>
                                        <p:tgtEl>
                                          <p:spTgt spid="790"/>
                                        </p:tgtEl>
                                      </p:cBhvr>
                                    </p:animEffect>
                                    <p:set>
                                      <p:cBhvr>
                                        <p:cTn id="75" dur="1" fill="hold">
                                          <p:stCondLst>
                                            <p:cond delay="499"/>
                                          </p:stCondLst>
                                        </p:cTn>
                                        <p:tgtEl>
                                          <p:spTgt spid="790"/>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791"/>
                                        </p:tgtEl>
                                        <p:attrNameLst>
                                          <p:attrName>style.visibility</p:attrName>
                                        </p:attrNameLst>
                                      </p:cBhvr>
                                      <p:to>
                                        <p:strVal val="visible"/>
                                      </p:to>
                                    </p:set>
                                    <p:animEffect transition="in" filter="fade">
                                      <p:cBhvr>
                                        <p:cTn id="80" dur="500"/>
                                        <p:tgtEl>
                                          <p:spTgt spid="79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nodeType="clickEffect">
                                  <p:stCondLst>
                                    <p:cond delay="0"/>
                                  </p:stCondLst>
                                  <p:childTnLst>
                                    <p:set>
                                      <p:cBhvr>
                                        <p:cTn id="84" dur="1" fill="hold">
                                          <p:stCondLst>
                                            <p:cond delay="0"/>
                                          </p:stCondLst>
                                        </p:cTn>
                                        <p:tgtEl>
                                          <p:spTgt spid="793"/>
                                        </p:tgtEl>
                                        <p:attrNameLst>
                                          <p:attrName>style.visibility</p:attrName>
                                        </p:attrNameLst>
                                      </p:cBhvr>
                                      <p:to>
                                        <p:strVal val="visible"/>
                                      </p:to>
                                    </p:set>
                                    <p:animEffect transition="in" filter="fade">
                                      <p:cBhvr>
                                        <p:cTn id="85" dur="500"/>
                                        <p:tgtEl>
                                          <p:spTgt spid="793"/>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grpId="0" nodeType="clickEffect">
                                  <p:stCondLst>
                                    <p:cond delay="0"/>
                                  </p:stCondLst>
                                  <p:childTnLst>
                                    <p:set>
                                      <p:cBhvr>
                                        <p:cTn id="89" dur="1" fill="hold">
                                          <p:stCondLst>
                                            <p:cond delay="0"/>
                                          </p:stCondLst>
                                        </p:cTn>
                                        <p:tgtEl>
                                          <p:spTgt spid="795"/>
                                        </p:tgtEl>
                                        <p:attrNameLst>
                                          <p:attrName>style.visibility</p:attrName>
                                        </p:attrNameLst>
                                      </p:cBhvr>
                                      <p:to>
                                        <p:strVal val="visible"/>
                                      </p:to>
                                    </p:set>
                                    <p:animEffect transition="in" filter="fade">
                                      <p:cBhvr>
                                        <p:cTn id="90" dur="500"/>
                                        <p:tgtEl>
                                          <p:spTgt spid="795"/>
                                        </p:tgtEl>
                                      </p:cBhvr>
                                    </p:animEffect>
                                  </p:childTnLst>
                                </p:cTn>
                              </p:par>
                              <p:par>
                                <p:cTn id="91" presetID="10" presetClass="entr" presetSubtype="0" fill="hold" nodeType="withEffect">
                                  <p:stCondLst>
                                    <p:cond delay="0"/>
                                  </p:stCondLst>
                                  <p:childTnLst>
                                    <p:set>
                                      <p:cBhvr>
                                        <p:cTn id="92" dur="1" fill="hold">
                                          <p:stCondLst>
                                            <p:cond delay="0"/>
                                          </p:stCondLst>
                                        </p:cTn>
                                        <p:tgtEl>
                                          <p:spTgt spid="796"/>
                                        </p:tgtEl>
                                        <p:attrNameLst>
                                          <p:attrName>style.visibility</p:attrName>
                                        </p:attrNameLst>
                                      </p:cBhvr>
                                      <p:to>
                                        <p:strVal val="visible"/>
                                      </p:to>
                                    </p:set>
                                    <p:animEffect transition="in" filter="fade">
                                      <p:cBhvr>
                                        <p:cTn id="93" dur="500"/>
                                        <p:tgtEl>
                                          <p:spTgt spid="796"/>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800"/>
                                        </p:tgtEl>
                                        <p:attrNameLst>
                                          <p:attrName>style.visibility</p:attrName>
                                        </p:attrNameLst>
                                      </p:cBhvr>
                                      <p:to>
                                        <p:strVal val="visible"/>
                                      </p:to>
                                    </p:set>
                                    <p:animEffect transition="in" filter="fade">
                                      <p:cBhvr>
                                        <p:cTn id="96" dur="500"/>
                                        <p:tgtEl>
                                          <p:spTgt spid="800"/>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801"/>
                                        </p:tgtEl>
                                        <p:attrNameLst>
                                          <p:attrName>style.visibility</p:attrName>
                                        </p:attrNameLst>
                                      </p:cBhvr>
                                      <p:to>
                                        <p:strVal val="visible"/>
                                      </p:to>
                                    </p:set>
                                    <p:animEffect transition="in" filter="fade">
                                      <p:cBhvr>
                                        <p:cTn id="99" dur="500"/>
                                        <p:tgtEl>
                                          <p:spTgt spid="801"/>
                                        </p:tgtEl>
                                      </p:cBhvr>
                                    </p:animEffect>
                                  </p:childTnLst>
                                </p:cTn>
                              </p:par>
                              <p:par>
                                <p:cTn id="100" presetID="10" presetClass="entr" presetSubtype="0" fill="hold" nodeType="withEffect">
                                  <p:stCondLst>
                                    <p:cond delay="0"/>
                                  </p:stCondLst>
                                  <p:childTnLst>
                                    <p:set>
                                      <p:cBhvr>
                                        <p:cTn id="101" dur="1" fill="hold">
                                          <p:stCondLst>
                                            <p:cond delay="0"/>
                                          </p:stCondLst>
                                        </p:cTn>
                                        <p:tgtEl>
                                          <p:spTgt spid="802"/>
                                        </p:tgtEl>
                                        <p:attrNameLst>
                                          <p:attrName>style.visibility</p:attrName>
                                        </p:attrNameLst>
                                      </p:cBhvr>
                                      <p:to>
                                        <p:strVal val="visible"/>
                                      </p:to>
                                    </p:set>
                                    <p:animEffect transition="in" filter="fade">
                                      <p:cBhvr>
                                        <p:cTn id="102" dur="500"/>
                                        <p:tgtEl>
                                          <p:spTgt spid="802"/>
                                        </p:tgtEl>
                                      </p:cBhvr>
                                    </p:animEffect>
                                  </p:childTnLst>
                                </p:cTn>
                              </p:par>
                              <p:par>
                                <p:cTn id="103" presetID="10" presetClass="entr" presetSubtype="0" fill="hold" nodeType="withEffect">
                                  <p:stCondLst>
                                    <p:cond delay="0"/>
                                  </p:stCondLst>
                                  <p:childTnLst>
                                    <p:set>
                                      <p:cBhvr>
                                        <p:cTn id="104" dur="1" fill="hold">
                                          <p:stCondLst>
                                            <p:cond delay="0"/>
                                          </p:stCondLst>
                                        </p:cTn>
                                        <p:tgtEl>
                                          <p:spTgt spid="804"/>
                                        </p:tgtEl>
                                        <p:attrNameLst>
                                          <p:attrName>style.visibility</p:attrName>
                                        </p:attrNameLst>
                                      </p:cBhvr>
                                      <p:to>
                                        <p:strVal val="visible"/>
                                      </p:to>
                                    </p:set>
                                    <p:animEffect transition="in" filter="fade">
                                      <p:cBhvr>
                                        <p:cTn id="105" dur="500"/>
                                        <p:tgtEl>
                                          <p:spTgt spid="8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4" grpId="0" animBg="1"/>
      <p:bldP spid="505" grpId="0" animBg="1"/>
      <p:bldP spid="776" grpId="0" animBg="1"/>
      <p:bldP spid="776" grpId="1" animBg="1"/>
      <p:bldP spid="776" grpId="2" animBg="1"/>
      <p:bldP spid="776" grpId="3" animBg="1"/>
      <p:bldP spid="790" grpId="0" animBg="1"/>
      <p:bldP spid="790" grpId="1" animBg="1"/>
      <p:bldP spid="790" grpId="2" animBg="1"/>
      <p:bldP spid="790" grpId="3" animBg="1"/>
      <p:bldP spid="791" grpId="0" animBg="1"/>
      <p:bldP spid="795" grpId="0" animBg="1"/>
      <p:bldP spid="800" grpId="0" animBg="1"/>
      <p:bldP spid="801" grpId="0" animBg="1"/>
      <p:bldP spid="114" grpId="0" animBg="1"/>
      <p:bldP spid="11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9514" y="189835"/>
            <a:ext cx="11524432" cy="1063487"/>
          </a:xfrm>
        </p:spPr>
        <p:txBody>
          <a:bodyPr/>
          <a:lstStyle/>
          <a:p>
            <a:r>
              <a:rPr lang="en-US" dirty="0" smtClean="0"/>
              <a:t>Cloud Services</a:t>
            </a:r>
            <a:endParaRPr lang="en-US" dirty="0"/>
          </a:p>
        </p:txBody>
      </p:sp>
      <p:sp>
        <p:nvSpPr>
          <p:cNvPr id="6" name="Azure Data Center"/>
          <p:cNvSpPr/>
          <p:nvPr/>
        </p:nvSpPr>
        <p:spPr>
          <a:xfrm>
            <a:off x="815787" y="1253322"/>
            <a:ext cx="11090852" cy="5416419"/>
          </a:xfrm>
          <a:prstGeom prst="rect">
            <a:avLst/>
          </a:prstGeom>
          <a:solidFill>
            <a:schemeClr val="bg1"/>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Windows Azure Data Center</a:t>
            </a:r>
            <a:endParaRPr lang="en-US" dirty="0">
              <a:solidFill>
                <a:schemeClr val="tx2">
                  <a:lumMod val="50000"/>
                </a:schemeClr>
              </a:solidFill>
            </a:endParaRPr>
          </a:p>
        </p:txBody>
      </p:sp>
      <p:sp>
        <p:nvSpPr>
          <p:cNvPr id="7" name="Cloud Service Boundary"/>
          <p:cNvSpPr/>
          <p:nvPr/>
        </p:nvSpPr>
        <p:spPr>
          <a:xfrm>
            <a:off x="1576106" y="1623376"/>
            <a:ext cx="5159374" cy="491569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Cloud Service (</a:t>
            </a:r>
            <a:r>
              <a:rPr lang="en-US" b="1" i="1" dirty="0" smtClean="0">
                <a:solidFill>
                  <a:schemeClr val="tx2">
                    <a:lumMod val="50000"/>
                  </a:schemeClr>
                </a:solidFill>
              </a:rPr>
              <a:t>cloudservicename</a:t>
            </a:r>
            <a:r>
              <a:rPr lang="en-US" dirty="0" smtClean="0">
                <a:solidFill>
                  <a:schemeClr val="tx2">
                    <a:lumMod val="50000"/>
                  </a:schemeClr>
                </a:solidFill>
              </a:rPr>
              <a:t>.cloudapp.net)</a:t>
            </a:r>
            <a:endParaRPr lang="en-US" dirty="0">
              <a:solidFill>
                <a:schemeClr val="tx2">
                  <a:lumMod val="50000"/>
                </a:schemeClr>
              </a:solidFill>
            </a:endParaRPr>
          </a:p>
        </p:txBody>
      </p:sp>
      <p:sp>
        <p:nvSpPr>
          <p:cNvPr id="9" name="Firewall"/>
          <p:cNvSpPr/>
          <p:nvPr/>
        </p:nvSpPr>
        <p:spPr>
          <a:xfrm rot="16200000">
            <a:off x="-1184176" y="3774061"/>
            <a:ext cx="4910964" cy="60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dirty="0" smtClean="0"/>
              <a:t>Firewall</a:t>
            </a:r>
            <a:endParaRPr lang="en-US" dirty="0"/>
          </a:p>
        </p:txBody>
      </p:sp>
      <p:sp>
        <p:nvSpPr>
          <p:cNvPr id="13" name="Load Balancer"/>
          <p:cNvSpPr/>
          <p:nvPr/>
        </p:nvSpPr>
        <p:spPr>
          <a:xfrm rot="16200000">
            <a:off x="88521" y="2806165"/>
            <a:ext cx="2670376" cy="3047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dirty="0" smtClean="0"/>
              <a:t>Load Bal.</a:t>
            </a:r>
            <a:endParaRPr lang="en-US" dirty="0"/>
          </a:p>
        </p:txBody>
      </p:sp>
      <p:grpSp>
        <p:nvGrpSpPr>
          <p:cNvPr id="16" name="VM Instance"/>
          <p:cNvGrpSpPr/>
          <p:nvPr/>
        </p:nvGrpSpPr>
        <p:grpSpPr>
          <a:xfrm>
            <a:off x="3317276" y="5158838"/>
            <a:ext cx="1081944" cy="1081942"/>
            <a:chOff x="4562475" y="4448175"/>
            <a:chExt cx="1000125" cy="1000125"/>
          </a:xfrm>
        </p:grpSpPr>
        <p:sp>
          <p:nvSpPr>
            <p:cNvPr id="14" name="Rectangle 13"/>
            <p:cNvSpPr/>
            <p:nvPr/>
          </p:nvSpPr>
          <p:spPr>
            <a:xfrm>
              <a:off x="4562475" y="4448175"/>
              <a:ext cx="1000125" cy="1000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Virtual Machine</a:t>
              </a:r>
              <a:endParaRPr lang="en-US" sz="1400" dirty="0"/>
            </a:p>
          </p:txBody>
        </p:sp>
        <p:sp>
          <p:nvSpPr>
            <p:cNvPr id="15" name="Virtual Machine Icon"/>
            <p:cNvSpPr>
              <a:spLocks noChangeAspect="1"/>
            </p:cNvSpPr>
            <p:nvPr/>
          </p:nvSpPr>
          <p:spPr>
            <a:xfrm>
              <a:off x="4825063" y="4547470"/>
              <a:ext cx="474946" cy="441258"/>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400"/>
            </a:p>
          </p:txBody>
        </p:sp>
      </p:grpSp>
      <p:grpSp>
        <p:nvGrpSpPr>
          <p:cNvPr id="94" name="Worker Role Instance"/>
          <p:cNvGrpSpPr/>
          <p:nvPr/>
        </p:nvGrpSpPr>
        <p:grpSpPr>
          <a:xfrm>
            <a:off x="3469676" y="3865534"/>
            <a:ext cx="1081944" cy="1081942"/>
            <a:chOff x="3388996" y="3568455"/>
            <a:chExt cx="1081944" cy="1081942"/>
          </a:xfrm>
        </p:grpSpPr>
        <p:sp>
          <p:nvSpPr>
            <p:cNvPr id="95" name="Rectangle 94"/>
            <p:cNvSpPr/>
            <p:nvPr/>
          </p:nvSpPr>
          <p:spPr>
            <a:xfrm>
              <a:off x="3388996" y="3568455"/>
              <a:ext cx="1081944" cy="10819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Worker Role</a:t>
              </a:r>
              <a:endParaRPr lang="en-US" sz="1400" dirty="0"/>
            </a:p>
          </p:txBody>
        </p:sp>
        <p:grpSp>
          <p:nvGrpSpPr>
            <p:cNvPr id="96" name="Worker Role Icon"/>
            <p:cNvGrpSpPr/>
            <p:nvPr/>
          </p:nvGrpSpPr>
          <p:grpSpPr>
            <a:xfrm>
              <a:off x="3673066" y="3674797"/>
              <a:ext cx="513800" cy="474277"/>
              <a:chOff x="6907653" y="4061520"/>
              <a:chExt cx="548393" cy="509495"/>
            </a:xfrm>
            <a:solidFill>
              <a:schemeClr val="bg1"/>
            </a:solidFill>
          </p:grpSpPr>
          <p:sp>
            <p:nvSpPr>
              <p:cNvPr id="97" name="Freeform 96"/>
              <p:cNvSpPr>
                <a:spLocks noChangeAspect="1"/>
              </p:cNvSpPr>
              <p:nvPr/>
            </p:nvSpPr>
            <p:spPr>
              <a:xfrm>
                <a:off x="6907653" y="4061520"/>
                <a:ext cx="548393" cy="509495"/>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98" name="Rectangle 10"/>
              <p:cNvSpPr/>
              <p:nvPr/>
            </p:nvSpPr>
            <p:spPr>
              <a:xfrm>
                <a:off x="7072121" y="4159664"/>
                <a:ext cx="219456" cy="219456"/>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83" name="Worker Role Instance"/>
          <p:cNvGrpSpPr/>
          <p:nvPr/>
        </p:nvGrpSpPr>
        <p:grpSpPr>
          <a:xfrm>
            <a:off x="3317276" y="3713134"/>
            <a:ext cx="1081944" cy="1081942"/>
            <a:chOff x="3388996" y="3568455"/>
            <a:chExt cx="1081944" cy="1081942"/>
          </a:xfrm>
        </p:grpSpPr>
        <p:sp>
          <p:nvSpPr>
            <p:cNvPr id="76" name="Rectangle 75"/>
            <p:cNvSpPr/>
            <p:nvPr/>
          </p:nvSpPr>
          <p:spPr>
            <a:xfrm>
              <a:off x="3388996" y="3568455"/>
              <a:ext cx="1081944" cy="10819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Worker Role</a:t>
              </a:r>
              <a:endParaRPr lang="en-US" sz="1400" dirty="0"/>
            </a:p>
          </p:txBody>
        </p:sp>
        <p:grpSp>
          <p:nvGrpSpPr>
            <p:cNvPr id="71" name="Worker Role Icon"/>
            <p:cNvGrpSpPr/>
            <p:nvPr/>
          </p:nvGrpSpPr>
          <p:grpSpPr>
            <a:xfrm>
              <a:off x="3673066" y="3674797"/>
              <a:ext cx="513800" cy="474277"/>
              <a:chOff x="6907653" y="4061520"/>
              <a:chExt cx="548393" cy="509495"/>
            </a:xfrm>
            <a:solidFill>
              <a:schemeClr val="bg1"/>
            </a:solidFill>
          </p:grpSpPr>
          <p:sp>
            <p:nvSpPr>
              <p:cNvPr id="69" name="Freeform 68"/>
              <p:cNvSpPr>
                <a:spLocks noChangeAspect="1"/>
              </p:cNvSpPr>
              <p:nvPr/>
            </p:nvSpPr>
            <p:spPr>
              <a:xfrm>
                <a:off x="6907653" y="4061520"/>
                <a:ext cx="548393" cy="509495"/>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68" name="Rectangle 10"/>
              <p:cNvSpPr/>
              <p:nvPr/>
            </p:nvSpPr>
            <p:spPr>
              <a:xfrm>
                <a:off x="7072121" y="4159664"/>
                <a:ext cx="219456" cy="219456"/>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84" name="Web Role Instance"/>
          <p:cNvGrpSpPr/>
          <p:nvPr/>
        </p:nvGrpSpPr>
        <p:grpSpPr>
          <a:xfrm>
            <a:off x="3469676" y="2419829"/>
            <a:ext cx="1081944" cy="1081942"/>
            <a:chOff x="3388996" y="2389349"/>
            <a:chExt cx="1081944" cy="1081942"/>
          </a:xfrm>
        </p:grpSpPr>
        <p:sp>
          <p:nvSpPr>
            <p:cNvPr id="85" name="Rectangle 84"/>
            <p:cNvSpPr/>
            <p:nvPr/>
          </p:nvSpPr>
          <p:spPr>
            <a:xfrm>
              <a:off x="3388996" y="2389349"/>
              <a:ext cx="1081944" cy="10819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Web Role</a:t>
              </a:r>
              <a:endParaRPr lang="en-US" sz="1400" dirty="0"/>
            </a:p>
          </p:txBody>
        </p:sp>
        <p:grpSp>
          <p:nvGrpSpPr>
            <p:cNvPr id="86" name="Web Role Icon"/>
            <p:cNvGrpSpPr/>
            <p:nvPr/>
          </p:nvGrpSpPr>
          <p:grpSpPr>
            <a:xfrm>
              <a:off x="3673066" y="2496767"/>
              <a:ext cx="513800" cy="474277"/>
              <a:chOff x="6309959" y="4061520"/>
              <a:chExt cx="548393" cy="509495"/>
            </a:xfrm>
            <a:solidFill>
              <a:schemeClr val="bg1"/>
            </a:solidFill>
          </p:grpSpPr>
          <p:sp>
            <p:nvSpPr>
              <p:cNvPr id="87" name="Freeform 86"/>
              <p:cNvSpPr>
                <a:spLocks noChangeAspect="1"/>
              </p:cNvSpPr>
              <p:nvPr/>
            </p:nvSpPr>
            <p:spPr>
              <a:xfrm>
                <a:off x="6309959" y="4061520"/>
                <a:ext cx="548393" cy="509495"/>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88" name="Azure Web Sites EMF Icon 02"/>
              <p:cNvSpPr>
                <a:spLocks noChangeAspect="1" noEditPoints="1"/>
              </p:cNvSpPr>
              <p:nvPr/>
            </p:nvSpPr>
            <p:spPr bwMode="auto">
              <a:xfrm>
                <a:off x="6476434" y="4163678"/>
                <a:ext cx="215442" cy="215442"/>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82" name="Web Role Instance"/>
          <p:cNvGrpSpPr/>
          <p:nvPr/>
        </p:nvGrpSpPr>
        <p:grpSpPr>
          <a:xfrm>
            <a:off x="3317276" y="2267429"/>
            <a:ext cx="1081944" cy="1081942"/>
            <a:chOff x="3388996" y="2389349"/>
            <a:chExt cx="1081944" cy="1081942"/>
          </a:xfrm>
        </p:grpSpPr>
        <p:sp>
          <p:nvSpPr>
            <p:cNvPr id="79" name="Rectangle 78"/>
            <p:cNvSpPr/>
            <p:nvPr/>
          </p:nvSpPr>
          <p:spPr>
            <a:xfrm>
              <a:off x="3388996" y="2389349"/>
              <a:ext cx="1081944" cy="10819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Web Role</a:t>
              </a:r>
              <a:endParaRPr lang="en-US" sz="1400" dirty="0"/>
            </a:p>
          </p:txBody>
        </p:sp>
        <p:grpSp>
          <p:nvGrpSpPr>
            <p:cNvPr id="70" name="Web Role Icon"/>
            <p:cNvGrpSpPr/>
            <p:nvPr/>
          </p:nvGrpSpPr>
          <p:grpSpPr>
            <a:xfrm>
              <a:off x="3673066" y="2496767"/>
              <a:ext cx="513800" cy="474277"/>
              <a:chOff x="6309959" y="4061520"/>
              <a:chExt cx="548393" cy="509495"/>
            </a:xfrm>
            <a:solidFill>
              <a:schemeClr val="bg1"/>
            </a:solidFill>
          </p:grpSpPr>
          <p:sp>
            <p:nvSpPr>
              <p:cNvPr id="66" name="Freeform 65"/>
              <p:cNvSpPr>
                <a:spLocks noChangeAspect="1"/>
              </p:cNvSpPr>
              <p:nvPr/>
            </p:nvSpPr>
            <p:spPr>
              <a:xfrm>
                <a:off x="6309959" y="4061520"/>
                <a:ext cx="548393" cy="509495"/>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67" name="Azure Web Sites EMF Icon 02"/>
              <p:cNvSpPr>
                <a:spLocks noChangeAspect="1" noEditPoints="1"/>
              </p:cNvSpPr>
              <p:nvPr/>
            </p:nvSpPr>
            <p:spPr bwMode="auto">
              <a:xfrm>
                <a:off x="6476434" y="4163678"/>
                <a:ext cx="215442" cy="215442"/>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64" name="Web Endpoint"/>
          <p:cNvGrpSpPr/>
          <p:nvPr/>
        </p:nvGrpSpPr>
        <p:grpSpPr>
          <a:xfrm>
            <a:off x="307794" y="2764385"/>
            <a:ext cx="3005908" cy="350290"/>
            <a:chOff x="379514" y="2764385"/>
            <a:chExt cx="3005908" cy="350290"/>
          </a:xfrm>
        </p:grpSpPr>
        <p:sp>
          <p:nvSpPr>
            <p:cNvPr id="102" name="Oval 101"/>
            <p:cNvSpPr/>
            <p:nvPr/>
          </p:nvSpPr>
          <p:spPr>
            <a:xfrm>
              <a:off x="379514" y="2764385"/>
              <a:ext cx="350290" cy="350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t>80</a:t>
              </a:r>
              <a:endParaRPr lang="en-US" sz="1000" dirty="0"/>
            </a:p>
          </p:txBody>
        </p:sp>
        <p:sp>
          <p:nvSpPr>
            <p:cNvPr id="103" name="Rectangle 102"/>
            <p:cNvSpPr/>
            <p:nvPr/>
          </p:nvSpPr>
          <p:spPr>
            <a:xfrm>
              <a:off x="691704" y="2893810"/>
              <a:ext cx="2544892"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Isosceles Triangle 103"/>
            <p:cNvSpPr/>
            <p:nvPr/>
          </p:nvSpPr>
          <p:spPr>
            <a:xfrm rot="5400000">
              <a:off x="3037950" y="2764386"/>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dirty="0"/>
            </a:p>
          </p:txBody>
        </p:sp>
      </p:grpSp>
      <p:grpSp>
        <p:nvGrpSpPr>
          <p:cNvPr id="165" name="Load Balanced Web Endpoint"/>
          <p:cNvGrpSpPr/>
          <p:nvPr/>
        </p:nvGrpSpPr>
        <p:grpSpPr>
          <a:xfrm>
            <a:off x="2141990" y="2899051"/>
            <a:ext cx="1314592" cy="715418"/>
            <a:chOff x="2213710" y="2899051"/>
            <a:chExt cx="1314592" cy="715418"/>
          </a:xfrm>
        </p:grpSpPr>
        <p:sp>
          <p:nvSpPr>
            <p:cNvPr id="105" name="Rectangle 104"/>
            <p:cNvSpPr/>
            <p:nvPr/>
          </p:nvSpPr>
          <p:spPr>
            <a:xfrm>
              <a:off x="2213710" y="3396421"/>
              <a:ext cx="1165766"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rot="16200000">
              <a:off x="1965025" y="3147736"/>
              <a:ext cx="588810"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Isosceles Triangle 105"/>
            <p:cNvSpPr/>
            <p:nvPr/>
          </p:nvSpPr>
          <p:spPr>
            <a:xfrm rot="5400000">
              <a:off x="3180830" y="3266997"/>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p>
          </p:txBody>
        </p:sp>
      </p:grpSp>
      <p:grpSp>
        <p:nvGrpSpPr>
          <p:cNvPr id="163" name="Worker Endpoint"/>
          <p:cNvGrpSpPr/>
          <p:nvPr/>
        </p:nvGrpSpPr>
        <p:grpSpPr>
          <a:xfrm>
            <a:off x="307794" y="3930013"/>
            <a:ext cx="3005908" cy="350290"/>
            <a:chOff x="379514" y="3930013"/>
            <a:chExt cx="3005908" cy="350290"/>
          </a:xfrm>
        </p:grpSpPr>
        <p:sp>
          <p:nvSpPr>
            <p:cNvPr id="108" name="Oval 107"/>
            <p:cNvSpPr/>
            <p:nvPr/>
          </p:nvSpPr>
          <p:spPr>
            <a:xfrm>
              <a:off x="379514" y="3930013"/>
              <a:ext cx="350290" cy="350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t>8081</a:t>
              </a:r>
              <a:endParaRPr lang="en-US" sz="1000" dirty="0"/>
            </a:p>
          </p:txBody>
        </p:sp>
        <p:sp>
          <p:nvSpPr>
            <p:cNvPr id="109" name="Rectangle 108"/>
            <p:cNvSpPr/>
            <p:nvPr/>
          </p:nvSpPr>
          <p:spPr>
            <a:xfrm>
              <a:off x="691704" y="4059438"/>
              <a:ext cx="2544892"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Isosceles Triangle 109"/>
            <p:cNvSpPr/>
            <p:nvPr/>
          </p:nvSpPr>
          <p:spPr>
            <a:xfrm rot="5400000">
              <a:off x="3037950" y="3930014"/>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p>
          </p:txBody>
        </p:sp>
      </p:grpSp>
      <p:grpSp>
        <p:nvGrpSpPr>
          <p:cNvPr id="162" name="Load Balanced Worker Endpoint"/>
          <p:cNvGrpSpPr/>
          <p:nvPr/>
        </p:nvGrpSpPr>
        <p:grpSpPr>
          <a:xfrm>
            <a:off x="2141990" y="4064679"/>
            <a:ext cx="1314592" cy="1001168"/>
            <a:chOff x="2213710" y="4064679"/>
            <a:chExt cx="1314592" cy="1001168"/>
          </a:xfrm>
        </p:grpSpPr>
        <p:sp>
          <p:nvSpPr>
            <p:cNvPr id="111" name="Rectangle 110"/>
            <p:cNvSpPr/>
            <p:nvPr/>
          </p:nvSpPr>
          <p:spPr>
            <a:xfrm>
              <a:off x="2213710" y="4847799"/>
              <a:ext cx="1165766"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rot="16200000">
              <a:off x="1822150" y="4456239"/>
              <a:ext cx="874560"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Isosceles Triangle 111"/>
            <p:cNvSpPr/>
            <p:nvPr/>
          </p:nvSpPr>
          <p:spPr>
            <a:xfrm rot="5400000">
              <a:off x="3180830" y="4718375"/>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p>
          </p:txBody>
        </p:sp>
      </p:grpSp>
      <p:grpSp>
        <p:nvGrpSpPr>
          <p:cNvPr id="161" name="VM Instance Endpoint"/>
          <p:cNvGrpSpPr/>
          <p:nvPr/>
        </p:nvGrpSpPr>
        <p:grpSpPr>
          <a:xfrm>
            <a:off x="307794" y="5543146"/>
            <a:ext cx="3005908" cy="350290"/>
            <a:chOff x="379514" y="5543146"/>
            <a:chExt cx="3005908" cy="350290"/>
          </a:xfrm>
        </p:grpSpPr>
        <p:sp>
          <p:nvSpPr>
            <p:cNvPr id="114" name="Oval 113"/>
            <p:cNvSpPr/>
            <p:nvPr/>
          </p:nvSpPr>
          <p:spPr>
            <a:xfrm>
              <a:off x="379514" y="5543146"/>
              <a:ext cx="350290" cy="350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t>1433</a:t>
              </a:r>
              <a:endParaRPr lang="en-US" sz="1000" dirty="0"/>
            </a:p>
          </p:txBody>
        </p:sp>
        <p:sp>
          <p:nvSpPr>
            <p:cNvPr id="115" name="Rectangle 114"/>
            <p:cNvSpPr/>
            <p:nvPr/>
          </p:nvSpPr>
          <p:spPr>
            <a:xfrm>
              <a:off x="691704" y="5672571"/>
              <a:ext cx="2544892"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Isosceles Triangle 115"/>
            <p:cNvSpPr/>
            <p:nvPr/>
          </p:nvSpPr>
          <p:spPr>
            <a:xfrm rot="5400000">
              <a:off x="3037950" y="5543147"/>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p>
          </p:txBody>
        </p:sp>
      </p:grpSp>
      <p:sp>
        <p:nvSpPr>
          <p:cNvPr id="119" name="VM Firewall"/>
          <p:cNvSpPr/>
          <p:nvPr/>
        </p:nvSpPr>
        <p:spPr>
          <a:xfrm>
            <a:off x="3332041" y="5170668"/>
            <a:ext cx="62444" cy="10591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6" name="Storage Services"/>
          <p:cNvGrpSpPr/>
          <p:nvPr/>
        </p:nvGrpSpPr>
        <p:grpSpPr>
          <a:xfrm>
            <a:off x="6898799" y="1623376"/>
            <a:ext cx="4889885" cy="1527048"/>
            <a:chOff x="6970519" y="1656873"/>
            <a:chExt cx="4889885" cy="1527048"/>
          </a:xfrm>
        </p:grpSpPr>
        <p:sp>
          <p:nvSpPr>
            <p:cNvPr id="120" name="Rectangle 119"/>
            <p:cNvSpPr/>
            <p:nvPr/>
          </p:nvSpPr>
          <p:spPr>
            <a:xfrm>
              <a:off x="6970519" y="1656873"/>
              <a:ext cx="4889885" cy="1527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Storage (</a:t>
              </a:r>
              <a:r>
                <a:rPr lang="en-US" b="1" i="1" dirty="0" err="1" smtClean="0">
                  <a:solidFill>
                    <a:schemeClr val="tx2">
                      <a:lumMod val="50000"/>
                    </a:schemeClr>
                  </a:solidFill>
                </a:rPr>
                <a:t>accountname</a:t>
              </a:r>
              <a:r>
                <a:rPr lang="en-US" dirty="0" smtClean="0">
                  <a:solidFill>
                    <a:schemeClr val="tx2">
                      <a:lumMod val="50000"/>
                    </a:schemeClr>
                  </a:solidFill>
                </a:rPr>
                <a:t>.*.core.windows.net)</a:t>
              </a:r>
              <a:endParaRPr lang="en-US" dirty="0">
                <a:solidFill>
                  <a:schemeClr val="tx2">
                    <a:lumMod val="50000"/>
                  </a:schemeClr>
                </a:solidFill>
              </a:endParaRPr>
            </a:p>
          </p:txBody>
        </p:sp>
        <p:sp>
          <p:nvSpPr>
            <p:cNvPr id="124" name="Blobs Icon (Bret's)"/>
            <p:cNvSpPr>
              <a:spLocks noChangeAspect="1"/>
            </p:cNvSpPr>
            <p:nvPr/>
          </p:nvSpPr>
          <p:spPr bwMode="auto">
            <a:xfrm>
              <a:off x="7516235" y="2279830"/>
              <a:ext cx="535430" cy="447222"/>
            </a:xfrm>
            <a:custGeom>
              <a:avLst/>
              <a:gdLst>
                <a:gd name="connsiteX0" fmla="*/ 2879361 w 7694150"/>
                <a:gd name="connsiteY0" fmla="*/ 599225 h 6426586"/>
                <a:gd name="connsiteX1" fmla="*/ 2879361 w 7694150"/>
                <a:gd name="connsiteY1" fmla="*/ 2178977 h 6426586"/>
                <a:gd name="connsiteX2" fmla="*/ 4515242 w 7694150"/>
                <a:gd name="connsiteY2" fmla="*/ 2178977 h 6426586"/>
                <a:gd name="connsiteX3" fmla="*/ 3447182 w 7694150"/>
                <a:gd name="connsiteY3" fmla="*/ 0 h 6426586"/>
                <a:gd name="connsiteX4" fmla="*/ 4145170 w 7694150"/>
                <a:gd name="connsiteY4" fmla="*/ 0 h 6426586"/>
                <a:gd name="connsiteX5" fmla="*/ 4145170 w 7694150"/>
                <a:gd name="connsiteY5" fmla="*/ 785 h 6426586"/>
                <a:gd name="connsiteX6" fmla="*/ 4154056 w 7694150"/>
                <a:gd name="connsiteY6" fmla="*/ 1 h 6426586"/>
                <a:gd name="connsiteX7" fmla="*/ 4488501 w 7694150"/>
                <a:gd name="connsiteY7" fmla="*/ 102159 h 6426586"/>
                <a:gd name="connsiteX8" fmla="*/ 4556957 w 7694150"/>
                <a:gd name="connsiteY8" fmla="*/ 158641 h 6426586"/>
                <a:gd name="connsiteX9" fmla="*/ 4558423 w 7694150"/>
                <a:gd name="connsiteY9" fmla="*/ 157121 h 6426586"/>
                <a:gd name="connsiteX10" fmla="*/ 6229181 w 7694150"/>
                <a:gd name="connsiteY10" fmla="*/ 1770553 h 6426586"/>
                <a:gd name="connsiteX11" fmla="*/ 6228771 w 7694150"/>
                <a:gd name="connsiteY11" fmla="*/ 1770977 h 6426586"/>
                <a:gd name="connsiteX12" fmla="*/ 6298757 w 7694150"/>
                <a:gd name="connsiteY12" fmla="*/ 1855801 h 6426586"/>
                <a:gd name="connsiteX13" fmla="*/ 6394023 w 7694150"/>
                <a:gd name="connsiteY13" fmla="*/ 2099148 h 6426586"/>
                <a:gd name="connsiteX14" fmla="*/ 6400081 w 7694150"/>
                <a:gd name="connsiteY14" fmla="*/ 2179235 h 6426586"/>
                <a:gd name="connsiteX15" fmla="*/ 6400915 w 7694150"/>
                <a:gd name="connsiteY15" fmla="*/ 2179235 h 6426586"/>
                <a:gd name="connsiteX16" fmla="*/ 6400915 w 7694150"/>
                <a:gd name="connsiteY16" fmla="*/ 2190243 h 6426586"/>
                <a:gd name="connsiteX17" fmla="*/ 6400915 w 7694150"/>
                <a:gd name="connsiteY17" fmla="*/ 5844302 h 6426586"/>
                <a:gd name="connsiteX18" fmla="*/ 5812969 w 7694150"/>
                <a:gd name="connsiteY18" fmla="*/ 6426586 h 6426586"/>
                <a:gd name="connsiteX19" fmla="*/ 5684245 w 7694150"/>
                <a:gd name="connsiteY19" fmla="*/ 6426586 h 6426586"/>
                <a:gd name="connsiteX20" fmla="*/ 5733681 w 7694150"/>
                <a:gd name="connsiteY20" fmla="*/ 6336385 h 6426586"/>
                <a:gd name="connsiteX21" fmla="*/ 5779885 w 7694150"/>
                <a:gd name="connsiteY21" fmla="*/ 6109734 h 6426586"/>
                <a:gd name="connsiteX22" fmla="*/ 5779885 w 7694150"/>
                <a:gd name="connsiteY22" fmla="*/ 2455675 h 6426586"/>
                <a:gd name="connsiteX23" fmla="*/ 5757821 w 7694150"/>
                <a:gd name="connsiteY23" fmla="*/ 2178977 h 6426586"/>
                <a:gd name="connsiteX24" fmla="*/ 4121940 w 7694150"/>
                <a:gd name="connsiteY24" fmla="*/ 599225 h 6426586"/>
                <a:gd name="connsiteX25" fmla="*/ 4121940 w 7694150"/>
                <a:gd name="connsiteY25" fmla="*/ 600768 h 6426586"/>
                <a:gd name="connsiteX26" fmla="*/ 3937393 w 7694150"/>
                <a:gd name="connsiteY26" fmla="*/ 422553 h 6426586"/>
                <a:gd name="connsiteX27" fmla="*/ 3935926 w 7694150"/>
                <a:gd name="connsiteY27" fmla="*/ 424073 h 6426586"/>
                <a:gd name="connsiteX28" fmla="*/ 3867470 w 7694150"/>
                <a:gd name="connsiteY28" fmla="*/ 367591 h 6426586"/>
                <a:gd name="connsiteX29" fmla="*/ 3533026 w 7694150"/>
                <a:gd name="connsiteY29" fmla="*/ 265433 h 6426586"/>
                <a:gd name="connsiteX30" fmla="*/ 3524140 w 7694150"/>
                <a:gd name="connsiteY30" fmla="*/ 266217 h 6426586"/>
                <a:gd name="connsiteX31" fmla="*/ 3524140 w 7694150"/>
                <a:gd name="connsiteY31" fmla="*/ 265432 h 6426586"/>
                <a:gd name="connsiteX32" fmla="*/ 3447182 w 7694150"/>
                <a:gd name="connsiteY32" fmla="*/ 265432 h 6426586"/>
                <a:gd name="connsiteX33" fmla="*/ 587945 w 7694150"/>
                <a:gd name="connsiteY33" fmla="*/ 0 h 6426586"/>
                <a:gd name="connsiteX34" fmla="*/ 2902591 w 7694150"/>
                <a:gd name="connsiteY34" fmla="*/ 0 h 6426586"/>
                <a:gd name="connsiteX35" fmla="*/ 2902591 w 7694150"/>
                <a:gd name="connsiteY35" fmla="*/ 785 h 6426586"/>
                <a:gd name="connsiteX36" fmla="*/ 2911477 w 7694150"/>
                <a:gd name="connsiteY36" fmla="*/ 1 h 6426586"/>
                <a:gd name="connsiteX37" fmla="*/ 3245921 w 7694150"/>
                <a:gd name="connsiteY37" fmla="*/ 102159 h 6426586"/>
                <a:gd name="connsiteX38" fmla="*/ 3314377 w 7694150"/>
                <a:gd name="connsiteY38" fmla="*/ 158641 h 6426586"/>
                <a:gd name="connsiteX39" fmla="*/ 3315844 w 7694150"/>
                <a:gd name="connsiteY39" fmla="*/ 157121 h 6426586"/>
                <a:gd name="connsiteX40" fmla="*/ 4986602 w 7694150"/>
                <a:gd name="connsiteY40" fmla="*/ 1770553 h 6426586"/>
                <a:gd name="connsiteX41" fmla="*/ 4986192 w 7694150"/>
                <a:gd name="connsiteY41" fmla="*/ 1770977 h 6426586"/>
                <a:gd name="connsiteX42" fmla="*/ 5056178 w 7694150"/>
                <a:gd name="connsiteY42" fmla="*/ 1855801 h 6426586"/>
                <a:gd name="connsiteX43" fmla="*/ 5151444 w 7694150"/>
                <a:gd name="connsiteY43" fmla="*/ 2099148 h 6426586"/>
                <a:gd name="connsiteX44" fmla="*/ 5157503 w 7694150"/>
                <a:gd name="connsiteY44" fmla="*/ 2179235 h 6426586"/>
                <a:gd name="connsiteX45" fmla="*/ 5158336 w 7694150"/>
                <a:gd name="connsiteY45" fmla="*/ 2179235 h 6426586"/>
                <a:gd name="connsiteX46" fmla="*/ 5158336 w 7694150"/>
                <a:gd name="connsiteY46" fmla="*/ 2190243 h 6426586"/>
                <a:gd name="connsiteX47" fmla="*/ 5158336 w 7694150"/>
                <a:gd name="connsiteY47" fmla="*/ 5844302 h 6426586"/>
                <a:gd name="connsiteX48" fmla="*/ 4570391 w 7694150"/>
                <a:gd name="connsiteY48" fmla="*/ 6426586 h 6426586"/>
                <a:gd name="connsiteX49" fmla="*/ 587945 w 7694150"/>
                <a:gd name="connsiteY49" fmla="*/ 6426586 h 6426586"/>
                <a:gd name="connsiteX50" fmla="*/ 0 w 7694150"/>
                <a:gd name="connsiteY50" fmla="*/ 5844302 h 6426586"/>
                <a:gd name="connsiteX51" fmla="*/ 0 w 7694150"/>
                <a:gd name="connsiteY51" fmla="*/ 582285 h 6426586"/>
                <a:gd name="connsiteX52" fmla="*/ 587945 w 7694150"/>
                <a:gd name="connsiteY52" fmla="*/ 0 h 6426586"/>
                <a:gd name="connsiteX53" fmla="*/ 4740417 w 7694150"/>
                <a:gd name="connsiteY53" fmla="*/ 0 h 6426586"/>
                <a:gd name="connsiteX54" fmla="*/ 5438405 w 7694150"/>
                <a:gd name="connsiteY54" fmla="*/ 0 h 6426586"/>
                <a:gd name="connsiteX55" fmla="*/ 5438405 w 7694150"/>
                <a:gd name="connsiteY55" fmla="*/ 785 h 6426586"/>
                <a:gd name="connsiteX56" fmla="*/ 5447291 w 7694150"/>
                <a:gd name="connsiteY56" fmla="*/ 1 h 6426586"/>
                <a:gd name="connsiteX57" fmla="*/ 5781736 w 7694150"/>
                <a:gd name="connsiteY57" fmla="*/ 102159 h 6426586"/>
                <a:gd name="connsiteX58" fmla="*/ 5850192 w 7694150"/>
                <a:gd name="connsiteY58" fmla="*/ 158641 h 6426586"/>
                <a:gd name="connsiteX59" fmla="*/ 5851658 w 7694150"/>
                <a:gd name="connsiteY59" fmla="*/ 157121 h 6426586"/>
                <a:gd name="connsiteX60" fmla="*/ 7522416 w 7694150"/>
                <a:gd name="connsiteY60" fmla="*/ 1770553 h 6426586"/>
                <a:gd name="connsiteX61" fmla="*/ 7522006 w 7694150"/>
                <a:gd name="connsiteY61" fmla="*/ 1770977 h 6426586"/>
                <a:gd name="connsiteX62" fmla="*/ 7591992 w 7694150"/>
                <a:gd name="connsiteY62" fmla="*/ 1855801 h 6426586"/>
                <a:gd name="connsiteX63" fmla="*/ 7687258 w 7694150"/>
                <a:gd name="connsiteY63" fmla="*/ 2099148 h 6426586"/>
                <a:gd name="connsiteX64" fmla="*/ 7693316 w 7694150"/>
                <a:gd name="connsiteY64" fmla="*/ 2179235 h 6426586"/>
                <a:gd name="connsiteX65" fmla="*/ 7694150 w 7694150"/>
                <a:gd name="connsiteY65" fmla="*/ 2179235 h 6426586"/>
                <a:gd name="connsiteX66" fmla="*/ 7694150 w 7694150"/>
                <a:gd name="connsiteY66" fmla="*/ 2190243 h 6426586"/>
                <a:gd name="connsiteX67" fmla="*/ 7694150 w 7694150"/>
                <a:gd name="connsiteY67" fmla="*/ 5844302 h 6426586"/>
                <a:gd name="connsiteX68" fmla="*/ 7106204 w 7694150"/>
                <a:gd name="connsiteY68" fmla="*/ 6426586 h 6426586"/>
                <a:gd name="connsiteX69" fmla="*/ 6977480 w 7694150"/>
                <a:gd name="connsiteY69" fmla="*/ 6426586 h 6426586"/>
                <a:gd name="connsiteX70" fmla="*/ 7026916 w 7694150"/>
                <a:gd name="connsiteY70" fmla="*/ 6336385 h 6426586"/>
                <a:gd name="connsiteX71" fmla="*/ 7073120 w 7694150"/>
                <a:gd name="connsiteY71" fmla="*/ 6109734 h 6426586"/>
                <a:gd name="connsiteX72" fmla="*/ 7073120 w 7694150"/>
                <a:gd name="connsiteY72" fmla="*/ 2455675 h 6426586"/>
                <a:gd name="connsiteX73" fmla="*/ 7051056 w 7694150"/>
                <a:gd name="connsiteY73" fmla="*/ 2178977 h 6426586"/>
                <a:gd name="connsiteX74" fmla="*/ 5415175 w 7694150"/>
                <a:gd name="connsiteY74" fmla="*/ 599225 h 6426586"/>
                <a:gd name="connsiteX75" fmla="*/ 5415175 w 7694150"/>
                <a:gd name="connsiteY75" fmla="*/ 600768 h 6426586"/>
                <a:gd name="connsiteX76" fmla="*/ 5230628 w 7694150"/>
                <a:gd name="connsiteY76" fmla="*/ 422553 h 6426586"/>
                <a:gd name="connsiteX77" fmla="*/ 5229161 w 7694150"/>
                <a:gd name="connsiteY77" fmla="*/ 424073 h 6426586"/>
                <a:gd name="connsiteX78" fmla="*/ 5160705 w 7694150"/>
                <a:gd name="connsiteY78" fmla="*/ 367591 h 6426586"/>
                <a:gd name="connsiteX79" fmla="*/ 4826261 w 7694150"/>
                <a:gd name="connsiteY79" fmla="*/ 265433 h 6426586"/>
                <a:gd name="connsiteX80" fmla="*/ 4817375 w 7694150"/>
                <a:gd name="connsiteY80" fmla="*/ 266217 h 6426586"/>
                <a:gd name="connsiteX81" fmla="*/ 4817375 w 7694150"/>
                <a:gd name="connsiteY81" fmla="*/ 265432 h 6426586"/>
                <a:gd name="connsiteX82" fmla="*/ 4740417 w 7694150"/>
                <a:gd name="connsiteY82" fmla="*/ 265432 h 642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694150" h="6426586">
                  <a:moveTo>
                    <a:pt x="2879361" y="599225"/>
                  </a:moveTo>
                  <a:lnTo>
                    <a:pt x="2879361" y="2178977"/>
                  </a:lnTo>
                  <a:lnTo>
                    <a:pt x="4515242" y="2178977"/>
                  </a:lnTo>
                  <a:close/>
                  <a:moveTo>
                    <a:pt x="3447182" y="0"/>
                  </a:moveTo>
                  <a:lnTo>
                    <a:pt x="4145170" y="0"/>
                  </a:lnTo>
                  <a:lnTo>
                    <a:pt x="4145170" y="785"/>
                  </a:lnTo>
                  <a:lnTo>
                    <a:pt x="4154056" y="1"/>
                  </a:lnTo>
                  <a:cubicBezTo>
                    <a:pt x="4277942" y="1"/>
                    <a:pt x="4393031" y="37662"/>
                    <a:pt x="4488501" y="102159"/>
                  </a:cubicBezTo>
                  <a:lnTo>
                    <a:pt x="4556957" y="158641"/>
                  </a:lnTo>
                  <a:lnTo>
                    <a:pt x="4558423" y="157121"/>
                  </a:lnTo>
                  <a:lnTo>
                    <a:pt x="6229181" y="1770553"/>
                  </a:lnTo>
                  <a:lnTo>
                    <a:pt x="6228771" y="1770977"/>
                  </a:lnTo>
                  <a:lnTo>
                    <a:pt x="6298757" y="1855801"/>
                  </a:lnTo>
                  <a:cubicBezTo>
                    <a:pt x="6347129" y="1927402"/>
                    <a:pt x="6380407" y="2010040"/>
                    <a:pt x="6394023" y="2099148"/>
                  </a:cubicBezTo>
                  <a:lnTo>
                    <a:pt x="6400081" y="2179235"/>
                  </a:lnTo>
                  <a:lnTo>
                    <a:pt x="6400915" y="2179235"/>
                  </a:lnTo>
                  <a:lnTo>
                    <a:pt x="6400915" y="2190243"/>
                  </a:lnTo>
                  <a:lnTo>
                    <a:pt x="6400915" y="5844302"/>
                  </a:lnTo>
                  <a:cubicBezTo>
                    <a:pt x="6400915" y="6165888"/>
                    <a:pt x="6137683" y="6426586"/>
                    <a:pt x="5812969" y="6426586"/>
                  </a:cubicBezTo>
                  <a:lnTo>
                    <a:pt x="5684245" y="6426586"/>
                  </a:lnTo>
                  <a:lnTo>
                    <a:pt x="5733681" y="6336385"/>
                  </a:lnTo>
                  <a:cubicBezTo>
                    <a:pt x="5763433" y="6266722"/>
                    <a:pt x="5779885" y="6190131"/>
                    <a:pt x="5779885" y="6109734"/>
                  </a:cubicBezTo>
                  <a:lnTo>
                    <a:pt x="5779885" y="2455675"/>
                  </a:lnTo>
                  <a:cubicBezTo>
                    <a:pt x="5780150" y="2317722"/>
                    <a:pt x="5780416" y="2212790"/>
                    <a:pt x="5757821" y="2178977"/>
                  </a:cubicBezTo>
                  <a:lnTo>
                    <a:pt x="4121940" y="599225"/>
                  </a:lnTo>
                  <a:lnTo>
                    <a:pt x="4121940" y="600768"/>
                  </a:lnTo>
                  <a:lnTo>
                    <a:pt x="3937393" y="422553"/>
                  </a:lnTo>
                  <a:lnTo>
                    <a:pt x="3935926" y="424073"/>
                  </a:lnTo>
                  <a:lnTo>
                    <a:pt x="3867470" y="367591"/>
                  </a:lnTo>
                  <a:cubicBezTo>
                    <a:pt x="3772001" y="303094"/>
                    <a:pt x="3656912" y="265433"/>
                    <a:pt x="3533026" y="265433"/>
                  </a:cubicBezTo>
                  <a:lnTo>
                    <a:pt x="3524140" y="266217"/>
                  </a:lnTo>
                  <a:lnTo>
                    <a:pt x="3524140" y="265432"/>
                  </a:lnTo>
                  <a:lnTo>
                    <a:pt x="3447182" y="265432"/>
                  </a:lnTo>
                  <a:close/>
                  <a:moveTo>
                    <a:pt x="587945" y="0"/>
                  </a:moveTo>
                  <a:lnTo>
                    <a:pt x="2902591" y="0"/>
                  </a:lnTo>
                  <a:lnTo>
                    <a:pt x="2902591" y="785"/>
                  </a:lnTo>
                  <a:lnTo>
                    <a:pt x="2911477" y="1"/>
                  </a:lnTo>
                  <a:cubicBezTo>
                    <a:pt x="3035363" y="1"/>
                    <a:pt x="3150452" y="37662"/>
                    <a:pt x="3245921" y="102159"/>
                  </a:cubicBezTo>
                  <a:lnTo>
                    <a:pt x="3314377" y="158641"/>
                  </a:lnTo>
                  <a:lnTo>
                    <a:pt x="3315844" y="157121"/>
                  </a:lnTo>
                  <a:lnTo>
                    <a:pt x="4986602" y="1770553"/>
                  </a:lnTo>
                  <a:lnTo>
                    <a:pt x="4986192" y="1770977"/>
                  </a:lnTo>
                  <a:lnTo>
                    <a:pt x="5056178" y="1855801"/>
                  </a:lnTo>
                  <a:cubicBezTo>
                    <a:pt x="5104551" y="1927402"/>
                    <a:pt x="5137828" y="2010040"/>
                    <a:pt x="5151444" y="2099148"/>
                  </a:cubicBezTo>
                  <a:lnTo>
                    <a:pt x="5157503" y="2179235"/>
                  </a:lnTo>
                  <a:lnTo>
                    <a:pt x="5158336" y="2179235"/>
                  </a:lnTo>
                  <a:lnTo>
                    <a:pt x="5158336" y="2190243"/>
                  </a:lnTo>
                  <a:lnTo>
                    <a:pt x="5158336" y="5844302"/>
                  </a:lnTo>
                  <a:cubicBezTo>
                    <a:pt x="5158336" y="6165888"/>
                    <a:pt x="4895104" y="6426586"/>
                    <a:pt x="4570391" y="6426586"/>
                  </a:cubicBezTo>
                  <a:lnTo>
                    <a:pt x="587945" y="6426586"/>
                  </a:lnTo>
                  <a:cubicBezTo>
                    <a:pt x="263233" y="6426586"/>
                    <a:pt x="0" y="6165888"/>
                    <a:pt x="0" y="5844302"/>
                  </a:cubicBezTo>
                  <a:lnTo>
                    <a:pt x="0" y="582285"/>
                  </a:lnTo>
                  <a:cubicBezTo>
                    <a:pt x="0" y="260698"/>
                    <a:pt x="263233" y="0"/>
                    <a:pt x="587945" y="0"/>
                  </a:cubicBezTo>
                  <a:close/>
                  <a:moveTo>
                    <a:pt x="4740417" y="0"/>
                  </a:moveTo>
                  <a:lnTo>
                    <a:pt x="5438405" y="0"/>
                  </a:lnTo>
                  <a:lnTo>
                    <a:pt x="5438405" y="785"/>
                  </a:lnTo>
                  <a:lnTo>
                    <a:pt x="5447291" y="1"/>
                  </a:lnTo>
                  <a:cubicBezTo>
                    <a:pt x="5571177" y="1"/>
                    <a:pt x="5686266" y="37662"/>
                    <a:pt x="5781736" y="102159"/>
                  </a:cubicBezTo>
                  <a:lnTo>
                    <a:pt x="5850192" y="158641"/>
                  </a:lnTo>
                  <a:lnTo>
                    <a:pt x="5851658" y="157121"/>
                  </a:lnTo>
                  <a:lnTo>
                    <a:pt x="7522416" y="1770553"/>
                  </a:lnTo>
                  <a:lnTo>
                    <a:pt x="7522006" y="1770977"/>
                  </a:lnTo>
                  <a:lnTo>
                    <a:pt x="7591992" y="1855801"/>
                  </a:lnTo>
                  <a:cubicBezTo>
                    <a:pt x="7640364" y="1927402"/>
                    <a:pt x="7673642" y="2010040"/>
                    <a:pt x="7687258" y="2099148"/>
                  </a:cubicBezTo>
                  <a:lnTo>
                    <a:pt x="7693316" y="2179235"/>
                  </a:lnTo>
                  <a:lnTo>
                    <a:pt x="7694150" y="2179235"/>
                  </a:lnTo>
                  <a:lnTo>
                    <a:pt x="7694150" y="2190243"/>
                  </a:lnTo>
                  <a:lnTo>
                    <a:pt x="7694150" y="5844302"/>
                  </a:lnTo>
                  <a:cubicBezTo>
                    <a:pt x="7694150" y="6165888"/>
                    <a:pt x="7430918" y="6426586"/>
                    <a:pt x="7106204" y="6426586"/>
                  </a:cubicBezTo>
                  <a:lnTo>
                    <a:pt x="6977480" y="6426586"/>
                  </a:lnTo>
                  <a:lnTo>
                    <a:pt x="7026916" y="6336385"/>
                  </a:lnTo>
                  <a:cubicBezTo>
                    <a:pt x="7056668" y="6266722"/>
                    <a:pt x="7073120" y="6190131"/>
                    <a:pt x="7073120" y="6109734"/>
                  </a:cubicBezTo>
                  <a:lnTo>
                    <a:pt x="7073120" y="2455675"/>
                  </a:lnTo>
                  <a:cubicBezTo>
                    <a:pt x="7073385" y="2317722"/>
                    <a:pt x="7073651" y="2212790"/>
                    <a:pt x="7051056" y="2178977"/>
                  </a:cubicBezTo>
                  <a:lnTo>
                    <a:pt x="5415175" y="599225"/>
                  </a:lnTo>
                  <a:lnTo>
                    <a:pt x="5415175" y="600768"/>
                  </a:lnTo>
                  <a:lnTo>
                    <a:pt x="5230628" y="422553"/>
                  </a:lnTo>
                  <a:lnTo>
                    <a:pt x="5229161" y="424073"/>
                  </a:lnTo>
                  <a:lnTo>
                    <a:pt x="5160705" y="367591"/>
                  </a:lnTo>
                  <a:cubicBezTo>
                    <a:pt x="5065236" y="303094"/>
                    <a:pt x="4950147" y="265433"/>
                    <a:pt x="4826261" y="265433"/>
                  </a:cubicBezTo>
                  <a:lnTo>
                    <a:pt x="4817375" y="266217"/>
                  </a:lnTo>
                  <a:lnTo>
                    <a:pt x="4817375" y="265432"/>
                  </a:lnTo>
                  <a:lnTo>
                    <a:pt x="4740417" y="265432"/>
                  </a:lnTo>
                  <a:close/>
                </a:path>
              </a:pathLst>
            </a:custGeom>
            <a:solidFill>
              <a:srgbClr val="4F81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2" name="Table Icon (Bret's)"/>
            <p:cNvSpPr>
              <a:spLocks noChangeAspect="1"/>
            </p:cNvSpPr>
            <p:nvPr/>
          </p:nvSpPr>
          <p:spPr>
            <a:xfrm>
              <a:off x="9146836" y="2235725"/>
              <a:ext cx="535430" cy="535430"/>
            </a:xfrm>
            <a:custGeom>
              <a:avLst/>
              <a:gdLst>
                <a:gd name="connsiteX0" fmla="*/ 688969 w 964557"/>
                <a:gd name="connsiteY0" fmla="*/ 750538 h 964557"/>
                <a:gd name="connsiteX1" fmla="*/ 688969 w 964557"/>
                <a:gd name="connsiteY1" fmla="*/ 858282 h 964557"/>
                <a:gd name="connsiteX2" fmla="*/ 826763 w 964557"/>
                <a:gd name="connsiteY2" fmla="*/ 858282 h 964557"/>
                <a:gd name="connsiteX3" fmla="*/ 826763 w 964557"/>
                <a:gd name="connsiteY3" fmla="*/ 750538 h 964557"/>
                <a:gd name="connsiteX4" fmla="*/ 413382 w 964557"/>
                <a:gd name="connsiteY4" fmla="*/ 750538 h 964557"/>
                <a:gd name="connsiteX5" fmla="*/ 413382 w 964557"/>
                <a:gd name="connsiteY5" fmla="*/ 858282 h 964557"/>
                <a:gd name="connsiteX6" fmla="*/ 551176 w 964557"/>
                <a:gd name="connsiteY6" fmla="*/ 858282 h 964557"/>
                <a:gd name="connsiteX7" fmla="*/ 551176 w 964557"/>
                <a:gd name="connsiteY7" fmla="*/ 750538 h 964557"/>
                <a:gd name="connsiteX8" fmla="*/ 137794 w 964557"/>
                <a:gd name="connsiteY8" fmla="*/ 750538 h 964557"/>
                <a:gd name="connsiteX9" fmla="*/ 137794 w 964557"/>
                <a:gd name="connsiteY9" fmla="*/ 858282 h 964557"/>
                <a:gd name="connsiteX10" fmla="*/ 275588 w 964557"/>
                <a:gd name="connsiteY10" fmla="*/ 858282 h 964557"/>
                <a:gd name="connsiteX11" fmla="*/ 275588 w 964557"/>
                <a:gd name="connsiteY11" fmla="*/ 750538 h 964557"/>
                <a:gd name="connsiteX12" fmla="*/ 688969 w 964557"/>
                <a:gd name="connsiteY12" fmla="*/ 535050 h 964557"/>
                <a:gd name="connsiteX13" fmla="*/ 688969 w 964557"/>
                <a:gd name="connsiteY13" fmla="*/ 642794 h 964557"/>
                <a:gd name="connsiteX14" fmla="*/ 826763 w 964557"/>
                <a:gd name="connsiteY14" fmla="*/ 642794 h 964557"/>
                <a:gd name="connsiteX15" fmla="*/ 826763 w 964557"/>
                <a:gd name="connsiteY15" fmla="*/ 535050 h 964557"/>
                <a:gd name="connsiteX16" fmla="*/ 413382 w 964557"/>
                <a:gd name="connsiteY16" fmla="*/ 535050 h 964557"/>
                <a:gd name="connsiteX17" fmla="*/ 413382 w 964557"/>
                <a:gd name="connsiteY17" fmla="*/ 642794 h 964557"/>
                <a:gd name="connsiteX18" fmla="*/ 551176 w 964557"/>
                <a:gd name="connsiteY18" fmla="*/ 642794 h 964557"/>
                <a:gd name="connsiteX19" fmla="*/ 551176 w 964557"/>
                <a:gd name="connsiteY19" fmla="*/ 535050 h 964557"/>
                <a:gd name="connsiteX20" fmla="*/ 137794 w 964557"/>
                <a:gd name="connsiteY20" fmla="*/ 535050 h 964557"/>
                <a:gd name="connsiteX21" fmla="*/ 137794 w 964557"/>
                <a:gd name="connsiteY21" fmla="*/ 642794 h 964557"/>
                <a:gd name="connsiteX22" fmla="*/ 275588 w 964557"/>
                <a:gd name="connsiteY22" fmla="*/ 642794 h 964557"/>
                <a:gd name="connsiteX23" fmla="*/ 275588 w 964557"/>
                <a:gd name="connsiteY23" fmla="*/ 535050 h 964557"/>
                <a:gd name="connsiteX24" fmla="*/ 688969 w 964557"/>
                <a:gd name="connsiteY24" fmla="*/ 321030 h 964557"/>
                <a:gd name="connsiteX25" fmla="*/ 688969 w 964557"/>
                <a:gd name="connsiteY25" fmla="*/ 428774 h 964557"/>
                <a:gd name="connsiteX26" fmla="*/ 826763 w 964557"/>
                <a:gd name="connsiteY26" fmla="*/ 428774 h 964557"/>
                <a:gd name="connsiteX27" fmla="*/ 826763 w 964557"/>
                <a:gd name="connsiteY27" fmla="*/ 321030 h 964557"/>
                <a:gd name="connsiteX28" fmla="*/ 413382 w 964557"/>
                <a:gd name="connsiteY28" fmla="*/ 321030 h 964557"/>
                <a:gd name="connsiteX29" fmla="*/ 413382 w 964557"/>
                <a:gd name="connsiteY29" fmla="*/ 428774 h 964557"/>
                <a:gd name="connsiteX30" fmla="*/ 551176 w 964557"/>
                <a:gd name="connsiteY30" fmla="*/ 428774 h 964557"/>
                <a:gd name="connsiteX31" fmla="*/ 551176 w 964557"/>
                <a:gd name="connsiteY31" fmla="*/ 321030 h 964557"/>
                <a:gd name="connsiteX32" fmla="*/ 137794 w 964557"/>
                <a:gd name="connsiteY32" fmla="*/ 321030 h 964557"/>
                <a:gd name="connsiteX33" fmla="*/ 137794 w 964557"/>
                <a:gd name="connsiteY33" fmla="*/ 428774 h 964557"/>
                <a:gd name="connsiteX34" fmla="*/ 275588 w 964557"/>
                <a:gd name="connsiteY34" fmla="*/ 428774 h 964557"/>
                <a:gd name="connsiteX35" fmla="*/ 275588 w 964557"/>
                <a:gd name="connsiteY35" fmla="*/ 321030 h 964557"/>
                <a:gd name="connsiteX36" fmla="*/ 0 w 964557"/>
                <a:gd name="connsiteY36" fmla="*/ 0 h 964557"/>
                <a:gd name="connsiteX37" fmla="*/ 964557 w 964557"/>
                <a:gd name="connsiteY37" fmla="*/ 0 h 964557"/>
                <a:gd name="connsiteX38" fmla="*/ 964557 w 964557"/>
                <a:gd name="connsiteY38" fmla="*/ 964557 h 964557"/>
                <a:gd name="connsiteX39" fmla="*/ 0 w 964557"/>
                <a:gd name="connsiteY39" fmla="*/ 964557 h 964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64557" h="964557">
                  <a:moveTo>
                    <a:pt x="688969" y="750538"/>
                  </a:moveTo>
                  <a:lnTo>
                    <a:pt x="688969" y="858282"/>
                  </a:lnTo>
                  <a:lnTo>
                    <a:pt x="826763" y="858282"/>
                  </a:lnTo>
                  <a:lnTo>
                    <a:pt x="826763" y="750538"/>
                  </a:lnTo>
                  <a:close/>
                  <a:moveTo>
                    <a:pt x="413382" y="750538"/>
                  </a:moveTo>
                  <a:lnTo>
                    <a:pt x="413382" y="858282"/>
                  </a:lnTo>
                  <a:lnTo>
                    <a:pt x="551176" y="858282"/>
                  </a:lnTo>
                  <a:lnTo>
                    <a:pt x="551176" y="750538"/>
                  </a:lnTo>
                  <a:close/>
                  <a:moveTo>
                    <a:pt x="137794" y="750538"/>
                  </a:moveTo>
                  <a:lnTo>
                    <a:pt x="137794" y="858282"/>
                  </a:lnTo>
                  <a:lnTo>
                    <a:pt x="275588" y="858282"/>
                  </a:lnTo>
                  <a:lnTo>
                    <a:pt x="275588" y="750538"/>
                  </a:lnTo>
                  <a:close/>
                  <a:moveTo>
                    <a:pt x="688969" y="535050"/>
                  </a:moveTo>
                  <a:lnTo>
                    <a:pt x="688969" y="642794"/>
                  </a:lnTo>
                  <a:lnTo>
                    <a:pt x="826763" y="642794"/>
                  </a:lnTo>
                  <a:lnTo>
                    <a:pt x="826763" y="535050"/>
                  </a:lnTo>
                  <a:close/>
                  <a:moveTo>
                    <a:pt x="413382" y="535050"/>
                  </a:moveTo>
                  <a:lnTo>
                    <a:pt x="413382" y="642794"/>
                  </a:lnTo>
                  <a:lnTo>
                    <a:pt x="551176" y="642794"/>
                  </a:lnTo>
                  <a:lnTo>
                    <a:pt x="551176" y="535050"/>
                  </a:lnTo>
                  <a:close/>
                  <a:moveTo>
                    <a:pt x="137794" y="535050"/>
                  </a:moveTo>
                  <a:lnTo>
                    <a:pt x="137794" y="642794"/>
                  </a:lnTo>
                  <a:lnTo>
                    <a:pt x="275588" y="642794"/>
                  </a:lnTo>
                  <a:lnTo>
                    <a:pt x="275588" y="535050"/>
                  </a:lnTo>
                  <a:close/>
                  <a:moveTo>
                    <a:pt x="688969" y="321030"/>
                  </a:moveTo>
                  <a:lnTo>
                    <a:pt x="688969" y="428774"/>
                  </a:lnTo>
                  <a:lnTo>
                    <a:pt x="826763" y="428774"/>
                  </a:lnTo>
                  <a:lnTo>
                    <a:pt x="826763" y="321030"/>
                  </a:lnTo>
                  <a:close/>
                  <a:moveTo>
                    <a:pt x="413382" y="321030"/>
                  </a:moveTo>
                  <a:lnTo>
                    <a:pt x="413382" y="428774"/>
                  </a:lnTo>
                  <a:lnTo>
                    <a:pt x="551176" y="428774"/>
                  </a:lnTo>
                  <a:lnTo>
                    <a:pt x="551176" y="321030"/>
                  </a:lnTo>
                  <a:close/>
                  <a:moveTo>
                    <a:pt x="137794" y="321030"/>
                  </a:moveTo>
                  <a:lnTo>
                    <a:pt x="137794" y="428774"/>
                  </a:lnTo>
                  <a:lnTo>
                    <a:pt x="275588" y="428774"/>
                  </a:lnTo>
                  <a:lnTo>
                    <a:pt x="275588" y="321030"/>
                  </a:lnTo>
                  <a:close/>
                  <a:moveTo>
                    <a:pt x="0" y="0"/>
                  </a:moveTo>
                  <a:lnTo>
                    <a:pt x="964557" y="0"/>
                  </a:lnTo>
                  <a:lnTo>
                    <a:pt x="964557" y="964557"/>
                  </a:lnTo>
                  <a:lnTo>
                    <a:pt x="0" y="964557"/>
                  </a:lnTo>
                  <a:close/>
                </a:path>
              </a:pathLst>
            </a:cu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Queue Icon (Bret's)"/>
            <p:cNvSpPr>
              <a:spLocks noChangeAspect="1"/>
            </p:cNvSpPr>
            <p:nvPr/>
          </p:nvSpPr>
          <p:spPr>
            <a:xfrm>
              <a:off x="10777516" y="2236278"/>
              <a:ext cx="535430" cy="534324"/>
            </a:xfrm>
            <a:custGeom>
              <a:avLst/>
              <a:gdLst>
                <a:gd name="connsiteX0" fmla="*/ 894756 w 1499110"/>
                <a:gd name="connsiteY0" fmla="*/ 0 h 358542"/>
                <a:gd name="connsiteX1" fmla="*/ 1253299 w 1499110"/>
                <a:gd name="connsiteY1" fmla="*/ 0 h 358542"/>
                <a:gd name="connsiteX2" fmla="*/ 1253299 w 1499110"/>
                <a:gd name="connsiteY2" fmla="*/ 36703 h 358542"/>
                <a:gd name="connsiteX3" fmla="*/ 1499110 w 1499110"/>
                <a:gd name="connsiteY3" fmla="*/ 179273 h 358542"/>
                <a:gd name="connsiteX4" fmla="*/ 1253299 w 1499110"/>
                <a:gd name="connsiteY4" fmla="*/ 321843 h 358542"/>
                <a:gd name="connsiteX5" fmla="*/ 1253299 w 1499110"/>
                <a:gd name="connsiteY5" fmla="*/ 358542 h 358542"/>
                <a:gd name="connsiteX6" fmla="*/ 894756 w 1499110"/>
                <a:gd name="connsiteY6" fmla="*/ 358542 h 358542"/>
                <a:gd name="connsiteX7" fmla="*/ 894756 w 1499110"/>
                <a:gd name="connsiteY7" fmla="*/ 321843 h 358542"/>
                <a:gd name="connsiteX8" fmla="*/ 1140567 w 1499110"/>
                <a:gd name="connsiteY8" fmla="*/ 179273 h 358542"/>
                <a:gd name="connsiteX9" fmla="*/ 894756 w 1499110"/>
                <a:gd name="connsiteY9" fmla="*/ 36703 h 358542"/>
                <a:gd name="connsiteX10" fmla="*/ 447378 w 1499110"/>
                <a:gd name="connsiteY10" fmla="*/ 0 h 358542"/>
                <a:gd name="connsiteX11" fmla="*/ 805920 w 1499110"/>
                <a:gd name="connsiteY11" fmla="*/ 0 h 358542"/>
                <a:gd name="connsiteX12" fmla="*/ 805920 w 1499110"/>
                <a:gd name="connsiteY12" fmla="*/ 36703 h 358542"/>
                <a:gd name="connsiteX13" fmla="*/ 1051732 w 1499110"/>
                <a:gd name="connsiteY13" fmla="*/ 179273 h 358542"/>
                <a:gd name="connsiteX14" fmla="*/ 805920 w 1499110"/>
                <a:gd name="connsiteY14" fmla="*/ 321843 h 358542"/>
                <a:gd name="connsiteX15" fmla="*/ 805920 w 1499110"/>
                <a:gd name="connsiteY15" fmla="*/ 358542 h 358542"/>
                <a:gd name="connsiteX16" fmla="*/ 447378 w 1499110"/>
                <a:gd name="connsiteY16" fmla="*/ 358542 h 358542"/>
                <a:gd name="connsiteX17" fmla="*/ 447378 w 1499110"/>
                <a:gd name="connsiteY17" fmla="*/ 321843 h 358542"/>
                <a:gd name="connsiteX18" fmla="*/ 693189 w 1499110"/>
                <a:gd name="connsiteY18" fmla="*/ 179273 h 358542"/>
                <a:gd name="connsiteX19" fmla="*/ 447378 w 1499110"/>
                <a:gd name="connsiteY19" fmla="*/ 36703 h 358542"/>
                <a:gd name="connsiteX20" fmla="*/ 0 w 1499110"/>
                <a:gd name="connsiteY20" fmla="*/ 0 h 358542"/>
                <a:gd name="connsiteX21" fmla="*/ 358542 w 1499110"/>
                <a:gd name="connsiteY21" fmla="*/ 0 h 358542"/>
                <a:gd name="connsiteX22" fmla="*/ 358542 w 1499110"/>
                <a:gd name="connsiteY22" fmla="*/ 36703 h 358542"/>
                <a:gd name="connsiteX23" fmla="*/ 604354 w 1499110"/>
                <a:gd name="connsiteY23" fmla="*/ 179273 h 358542"/>
                <a:gd name="connsiteX24" fmla="*/ 358542 w 1499110"/>
                <a:gd name="connsiteY24" fmla="*/ 321843 h 358542"/>
                <a:gd name="connsiteX25" fmla="*/ 358542 w 1499110"/>
                <a:gd name="connsiteY25" fmla="*/ 358542 h 358542"/>
                <a:gd name="connsiteX26" fmla="*/ 0 w 1499110"/>
                <a:gd name="connsiteY26" fmla="*/ 358542 h 358542"/>
                <a:gd name="connsiteX27" fmla="*/ 0 w 1499110"/>
                <a:gd name="connsiteY27" fmla="*/ 321843 h 358542"/>
                <a:gd name="connsiteX28" fmla="*/ 245811 w 1499110"/>
                <a:gd name="connsiteY28" fmla="*/ 179273 h 358542"/>
                <a:gd name="connsiteX29" fmla="*/ 0 w 1499110"/>
                <a:gd name="connsiteY29" fmla="*/ 36703 h 35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99110" h="358542">
                  <a:moveTo>
                    <a:pt x="894756" y="0"/>
                  </a:moveTo>
                  <a:lnTo>
                    <a:pt x="1253299" y="0"/>
                  </a:lnTo>
                  <a:lnTo>
                    <a:pt x="1253299" y="36703"/>
                  </a:lnTo>
                  <a:lnTo>
                    <a:pt x="1499110" y="179273"/>
                  </a:lnTo>
                  <a:lnTo>
                    <a:pt x="1253299" y="321843"/>
                  </a:lnTo>
                  <a:lnTo>
                    <a:pt x="1253299" y="358542"/>
                  </a:lnTo>
                  <a:lnTo>
                    <a:pt x="894756" y="358542"/>
                  </a:lnTo>
                  <a:lnTo>
                    <a:pt x="894756" y="321843"/>
                  </a:lnTo>
                  <a:lnTo>
                    <a:pt x="1140567" y="179273"/>
                  </a:lnTo>
                  <a:lnTo>
                    <a:pt x="894756" y="36703"/>
                  </a:lnTo>
                  <a:close/>
                  <a:moveTo>
                    <a:pt x="447378" y="0"/>
                  </a:moveTo>
                  <a:lnTo>
                    <a:pt x="805920" y="0"/>
                  </a:lnTo>
                  <a:lnTo>
                    <a:pt x="805920" y="36703"/>
                  </a:lnTo>
                  <a:lnTo>
                    <a:pt x="1051732" y="179273"/>
                  </a:lnTo>
                  <a:lnTo>
                    <a:pt x="805920" y="321843"/>
                  </a:lnTo>
                  <a:lnTo>
                    <a:pt x="805920" y="358542"/>
                  </a:lnTo>
                  <a:lnTo>
                    <a:pt x="447378" y="358542"/>
                  </a:lnTo>
                  <a:lnTo>
                    <a:pt x="447378" y="321843"/>
                  </a:lnTo>
                  <a:lnTo>
                    <a:pt x="693189" y="179273"/>
                  </a:lnTo>
                  <a:lnTo>
                    <a:pt x="447378" y="36703"/>
                  </a:lnTo>
                  <a:close/>
                  <a:moveTo>
                    <a:pt x="0" y="0"/>
                  </a:moveTo>
                  <a:lnTo>
                    <a:pt x="358542" y="0"/>
                  </a:lnTo>
                  <a:lnTo>
                    <a:pt x="358542" y="36703"/>
                  </a:lnTo>
                  <a:lnTo>
                    <a:pt x="604354" y="179273"/>
                  </a:lnTo>
                  <a:lnTo>
                    <a:pt x="358542" y="321843"/>
                  </a:lnTo>
                  <a:lnTo>
                    <a:pt x="358542" y="358542"/>
                  </a:lnTo>
                  <a:lnTo>
                    <a:pt x="0" y="358542"/>
                  </a:lnTo>
                  <a:lnTo>
                    <a:pt x="0" y="321843"/>
                  </a:lnTo>
                  <a:lnTo>
                    <a:pt x="245811" y="179273"/>
                  </a:lnTo>
                  <a:lnTo>
                    <a:pt x="0" y="36703"/>
                  </a:lnTo>
                  <a:close/>
                </a:path>
              </a:pathLst>
            </a:cu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7" name="SQL Database"/>
          <p:cNvGrpSpPr/>
          <p:nvPr/>
        </p:nvGrpSpPr>
        <p:grpSpPr>
          <a:xfrm>
            <a:off x="6898799" y="3315335"/>
            <a:ext cx="4889885" cy="1527048"/>
            <a:chOff x="6970519" y="3913255"/>
            <a:chExt cx="4889885" cy="1527048"/>
          </a:xfrm>
        </p:grpSpPr>
        <p:sp>
          <p:nvSpPr>
            <p:cNvPr id="150" name="Rectangle 149"/>
            <p:cNvSpPr/>
            <p:nvPr/>
          </p:nvSpPr>
          <p:spPr>
            <a:xfrm>
              <a:off x="6970519" y="3913255"/>
              <a:ext cx="4889885" cy="1527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SQL Database (</a:t>
              </a:r>
              <a:r>
                <a:rPr lang="en-US" b="1" i="1" dirty="0" smtClean="0">
                  <a:solidFill>
                    <a:schemeClr val="tx2">
                      <a:lumMod val="50000"/>
                    </a:schemeClr>
                  </a:solidFill>
                </a:rPr>
                <a:t>server</a:t>
              </a:r>
              <a:r>
                <a:rPr lang="en-US" i="1" dirty="0" smtClean="0">
                  <a:solidFill>
                    <a:schemeClr val="tx2">
                      <a:lumMod val="50000"/>
                    </a:schemeClr>
                  </a:solidFill>
                </a:rPr>
                <a:t>.database.windows.net</a:t>
              </a:r>
              <a:r>
                <a:rPr lang="en-US" dirty="0" smtClean="0">
                  <a:solidFill>
                    <a:schemeClr val="tx2">
                      <a:lumMod val="50000"/>
                    </a:schemeClr>
                  </a:solidFill>
                </a:rPr>
                <a:t>)</a:t>
              </a:r>
              <a:endParaRPr lang="en-US" dirty="0">
                <a:solidFill>
                  <a:schemeClr val="tx2">
                    <a:lumMod val="50000"/>
                  </a:schemeClr>
                </a:solidFill>
              </a:endParaRPr>
            </a:p>
          </p:txBody>
        </p:sp>
        <p:sp>
          <p:nvSpPr>
            <p:cNvPr id="151" name="SQL Database Icon"/>
            <p:cNvSpPr>
              <a:spLocks noChangeAspect="1"/>
            </p:cNvSpPr>
            <p:nvPr/>
          </p:nvSpPr>
          <p:spPr>
            <a:xfrm>
              <a:off x="9196350" y="4487416"/>
              <a:ext cx="436402" cy="576891"/>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800" dirty="0">
                <a:solidFill>
                  <a:schemeClr val="tx2"/>
                </a:solidFill>
              </a:endParaRPr>
            </a:p>
          </p:txBody>
        </p:sp>
      </p:grpSp>
      <p:grpSp>
        <p:nvGrpSpPr>
          <p:cNvPr id="168" name="Other Services"/>
          <p:cNvGrpSpPr/>
          <p:nvPr/>
        </p:nvGrpSpPr>
        <p:grpSpPr>
          <a:xfrm>
            <a:off x="6898799" y="5007295"/>
            <a:ext cx="4889885" cy="1527048"/>
            <a:chOff x="6970519" y="5411380"/>
            <a:chExt cx="4889885" cy="1527048"/>
          </a:xfrm>
        </p:grpSpPr>
        <p:sp>
          <p:nvSpPr>
            <p:cNvPr id="152" name="Rectangle 151"/>
            <p:cNvSpPr/>
            <p:nvPr/>
          </p:nvSpPr>
          <p:spPr>
            <a:xfrm>
              <a:off x="6970519" y="5411380"/>
              <a:ext cx="4889885" cy="1527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Lot’s of other cool stuff they can use….</a:t>
              </a:r>
              <a:endParaRPr lang="en-US" dirty="0">
                <a:solidFill>
                  <a:schemeClr val="tx2">
                    <a:lumMod val="50000"/>
                  </a:schemeClr>
                </a:solidFill>
              </a:endParaRPr>
            </a:p>
          </p:txBody>
        </p:sp>
        <p:sp>
          <p:nvSpPr>
            <p:cNvPr id="154" name="Add-Ons Icon"/>
            <p:cNvSpPr>
              <a:spLocks noChangeAspect="1"/>
            </p:cNvSpPr>
            <p:nvPr/>
          </p:nvSpPr>
          <p:spPr>
            <a:xfrm>
              <a:off x="9864674" y="6104068"/>
              <a:ext cx="449700" cy="449700"/>
            </a:xfrm>
            <a:custGeom>
              <a:avLst/>
              <a:gdLst>
                <a:gd name="connsiteX0" fmla="*/ 351753 w 2153776"/>
                <a:gd name="connsiteY0" fmla="*/ 1122366 h 2085020"/>
                <a:gd name="connsiteX1" fmla="*/ 142203 w 2153776"/>
                <a:gd name="connsiteY1" fmla="*/ 1541466 h 2085020"/>
                <a:gd name="connsiteX2" fmla="*/ 351753 w 2153776"/>
                <a:gd name="connsiteY2" fmla="*/ 1960566 h 2085020"/>
                <a:gd name="connsiteX3" fmla="*/ 924518 w 2153776"/>
                <a:gd name="connsiteY3" fmla="*/ 1960566 h 2085020"/>
                <a:gd name="connsiteX4" fmla="*/ 1134068 w 2153776"/>
                <a:gd name="connsiteY4" fmla="*/ 1541466 h 2085020"/>
                <a:gd name="connsiteX5" fmla="*/ 924518 w 2153776"/>
                <a:gd name="connsiteY5" fmla="*/ 1122366 h 2085020"/>
                <a:gd name="connsiteX6" fmla="*/ 1388075 w 2153776"/>
                <a:gd name="connsiteY6" fmla="*/ 815802 h 2085020"/>
                <a:gd name="connsiteX7" fmla="*/ 1699492 w 2153776"/>
                <a:gd name="connsiteY7" fmla="*/ 815802 h 2085020"/>
                <a:gd name="connsiteX8" fmla="*/ 1813426 w 2153776"/>
                <a:gd name="connsiteY8" fmla="*/ 1043671 h 2085020"/>
                <a:gd name="connsiteX9" fmla="*/ 1699492 w 2153776"/>
                <a:gd name="connsiteY9" fmla="*/ 1271540 h 2085020"/>
                <a:gd name="connsiteX10" fmla="*/ 1388075 w 2153776"/>
                <a:gd name="connsiteY10" fmla="*/ 1271540 h 2085020"/>
                <a:gd name="connsiteX11" fmla="*/ 1274140 w 2153776"/>
                <a:gd name="connsiteY11" fmla="*/ 1043671 h 2085020"/>
                <a:gd name="connsiteX12" fmla="*/ 1226453 w 2153776"/>
                <a:gd name="connsiteY12" fmla="*/ 604594 h 2085020"/>
                <a:gd name="connsiteX13" fmla="*/ 1016903 w 2153776"/>
                <a:gd name="connsiteY13" fmla="*/ 1023694 h 2085020"/>
                <a:gd name="connsiteX14" fmla="*/ 1226453 w 2153776"/>
                <a:gd name="connsiteY14" fmla="*/ 1442794 h 2085020"/>
                <a:gd name="connsiteX15" fmla="*/ 1799218 w 2153776"/>
                <a:gd name="connsiteY15" fmla="*/ 1442794 h 2085020"/>
                <a:gd name="connsiteX16" fmla="*/ 2008768 w 2153776"/>
                <a:gd name="connsiteY16" fmla="*/ 1023694 h 2085020"/>
                <a:gd name="connsiteX17" fmla="*/ 1799218 w 2153776"/>
                <a:gd name="connsiteY17" fmla="*/ 604594 h 2085020"/>
                <a:gd name="connsiteX18" fmla="*/ 561193 w 2153776"/>
                <a:gd name="connsiteY18" fmla="*/ 155209 h 2085020"/>
                <a:gd name="connsiteX19" fmla="*/ 561193 w 2153776"/>
                <a:gd name="connsiteY19" fmla="*/ 421907 h 2085020"/>
                <a:gd name="connsiteX20" fmla="*/ 294495 w 2153776"/>
                <a:gd name="connsiteY20" fmla="*/ 421907 h 2085020"/>
                <a:gd name="connsiteX21" fmla="*/ 294495 w 2153776"/>
                <a:gd name="connsiteY21" fmla="*/ 623841 h 2085020"/>
                <a:gd name="connsiteX22" fmla="*/ 561193 w 2153776"/>
                <a:gd name="connsiteY22" fmla="*/ 623841 h 2085020"/>
                <a:gd name="connsiteX23" fmla="*/ 561193 w 2153776"/>
                <a:gd name="connsiteY23" fmla="*/ 890539 h 2085020"/>
                <a:gd name="connsiteX24" fmla="*/ 759317 w 2153776"/>
                <a:gd name="connsiteY24" fmla="*/ 890539 h 2085020"/>
                <a:gd name="connsiteX25" fmla="*/ 759317 w 2153776"/>
                <a:gd name="connsiteY25" fmla="*/ 623841 h 2085020"/>
                <a:gd name="connsiteX26" fmla="*/ 1026015 w 2153776"/>
                <a:gd name="connsiteY26" fmla="*/ 623841 h 2085020"/>
                <a:gd name="connsiteX27" fmla="*/ 1026015 w 2153776"/>
                <a:gd name="connsiteY27" fmla="*/ 421907 h 2085020"/>
                <a:gd name="connsiteX28" fmla="*/ 759317 w 2153776"/>
                <a:gd name="connsiteY28" fmla="*/ 421907 h 2085020"/>
                <a:gd name="connsiteX29" fmla="*/ 759317 w 2153776"/>
                <a:gd name="connsiteY29" fmla="*/ 155209 h 2085020"/>
                <a:gd name="connsiteX30" fmla="*/ 270821 w 2153776"/>
                <a:gd name="connsiteY30" fmla="*/ 0 h 2085020"/>
                <a:gd name="connsiteX31" fmla="*/ 1011059 w 2153776"/>
                <a:gd name="connsiteY31" fmla="*/ 0 h 2085020"/>
                <a:gd name="connsiteX32" fmla="*/ 1262074 w 2153776"/>
                <a:gd name="connsiteY32" fmla="*/ 502029 h 2085020"/>
                <a:gd name="connsiteX33" fmla="*/ 1882955 w 2153776"/>
                <a:gd name="connsiteY33" fmla="*/ 502029 h 2085020"/>
                <a:gd name="connsiteX34" fmla="*/ 2153776 w 2153776"/>
                <a:gd name="connsiteY34" fmla="*/ 1043671 h 2085020"/>
                <a:gd name="connsiteX35" fmla="*/ 1882955 w 2153776"/>
                <a:gd name="connsiteY35" fmla="*/ 1585313 h 2085020"/>
                <a:gd name="connsiteX36" fmla="*/ 1261153 w 2153776"/>
                <a:gd name="connsiteY36" fmla="*/ 1585313 h 2085020"/>
                <a:gd name="connsiteX37" fmla="*/ 1011299 w 2153776"/>
                <a:gd name="connsiteY37" fmla="*/ 2085020 h 2085020"/>
                <a:gd name="connsiteX38" fmla="*/ 271061 w 2153776"/>
                <a:gd name="connsiteY38" fmla="*/ 2085020 h 2085020"/>
                <a:gd name="connsiteX39" fmla="*/ 240 w 2153776"/>
                <a:gd name="connsiteY39" fmla="*/ 1543378 h 2085020"/>
                <a:gd name="connsiteX40" fmla="*/ 250554 w 2153776"/>
                <a:gd name="connsiteY40" fmla="*/ 1042750 h 2085020"/>
                <a:gd name="connsiteX41" fmla="*/ 0 w 2153776"/>
                <a:gd name="connsiteY41" fmla="*/ 541642 h 208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153776" h="2085020">
                  <a:moveTo>
                    <a:pt x="351753" y="1122366"/>
                  </a:moveTo>
                  <a:lnTo>
                    <a:pt x="142203" y="1541466"/>
                  </a:lnTo>
                  <a:lnTo>
                    <a:pt x="351753" y="1960566"/>
                  </a:lnTo>
                  <a:lnTo>
                    <a:pt x="924518" y="1960566"/>
                  </a:lnTo>
                  <a:lnTo>
                    <a:pt x="1134068" y="1541466"/>
                  </a:lnTo>
                  <a:lnTo>
                    <a:pt x="924518" y="1122366"/>
                  </a:lnTo>
                  <a:close/>
                  <a:moveTo>
                    <a:pt x="1388075" y="815802"/>
                  </a:moveTo>
                  <a:lnTo>
                    <a:pt x="1699492" y="815802"/>
                  </a:lnTo>
                  <a:lnTo>
                    <a:pt x="1813426" y="1043671"/>
                  </a:lnTo>
                  <a:lnTo>
                    <a:pt x="1699492" y="1271540"/>
                  </a:lnTo>
                  <a:lnTo>
                    <a:pt x="1388075" y="1271540"/>
                  </a:lnTo>
                  <a:lnTo>
                    <a:pt x="1274140" y="1043671"/>
                  </a:lnTo>
                  <a:close/>
                  <a:moveTo>
                    <a:pt x="1226453" y="604594"/>
                  </a:moveTo>
                  <a:lnTo>
                    <a:pt x="1016903" y="1023694"/>
                  </a:lnTo>
                  <a:lnTo>
                    <a:pt x="1226453" y="1442794"/>
                  </a:lnTo>
                  <a:lnTo>
                    <a:pt x="1799218" y="1442794"/>
                  </a:lnTo>
                  <a:lnTo>
                    <a:pt x="2008768" y="1023694"/>
                  </a:lnTo>
                  <a:lnTo>
                    <a:pt x="1799218" y="604594"/>
                  </a:lnTo>
                  <a:close/>
                  <a:moveTo>
                    <a:pt x="561193" y="155209"/>
                  </a:moveTo>
                  <a:lnTo>
                    <a:pt x="561193" y="421907"/>
                  </a:lnTo>
                  <a:lnTo>
                    <a:pt x="294495" y="421907"/>
                  </a:lnTo>
                  <a:lnTo>
                    <a:pt x="294495" y="623841"/>
                  </a:lnTo>
                  <a:lnTo>
                    <a:pt x="561193" y="623841"/>
                  </a:lnTo>
                  <a:lnTo>
                    <a:pt x="561193" y="890539"/>
                  </a:lnTo>
                  <a:lnTo>
                    <a:pt x="759317" y="890539"/>
                  </a:lnTo>
                  <a:lnTo>
                    <a:pt x="759317" y="623841"/>
                  </a:lnTo>
                  <a:lnTo>
                    <a:pt x="1026015" y="623841"/>
                  </a:lnTo>
                  <a:lnTo>
                    <a:pt x="1026015" y="421907"/>
                  </a:lnTo>
                  <a:lnTo>
                    <a:pt x="759317" y="421907"/>
                  </a:lnTo>
                  <a:lnTo>
                    <a:pt x="759317" y="155209"/>
                  </a:lnTo>
                  <a:close/>
                  <a:moveTo>
                    <a:pt x="270821" y="0"/>
                  </a:moveTo>
                  <a:lnTo>
                    <a:pt x="1011059" y="0"/>
                  </a:lnTo>
                  <a:lnTo>
                    <a:pt x="1262074" y="502029"/>
                  </a:lnTo>
                  <a:lnTo>
                    <a:pt x="1882955" y="502029"/>
                  </a:lnTo>
                  <a:lnTo>
                    <a:pt x="2153776" y="1043671"/>
                  </a:lnTo>
                  <a:lnTo>
                    <a:pt x="1882955" y="1585313"/>
                  </a:lnTo>
                  <a:lnTo>
                    <a:pt x="1261153" y="1585313"/>
                  </a:lnTo>
                  <a:lnTo>
                    <a:pt x="1011299" y="2085020"/>
                  </a:lnTo>
                  <a:lnTo>
                    <a:pt x="271061" y="2085020"/>
                  </a:lnTo>
                  <a:lnTo>
                    <a:pt x="240" y="1543378"/>
                  </a:lnTo>
                  <a:lnTo>
                    <a:pt x="250554" y="1042750"/>
                  </a:lnTo>
                  <a:lnTo>
                    <a:pt x="0" y="54164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55" name="Biztalk Services Icon"/>
            <p:cNvSpPr>
              <a:spLocks noChangeAspect="1"/>
            </p:cNvSpPr>
            <p:nvPr/>
          </p:nvSpPr>
          <p:spPr bwMode="auto">
            <a:xfrm>
              <a:off x="10522809" y="6082065"/>
              <a:ext cx="508936" cy="493706"/>
            </a:xfrm>
            <a:custGeom>
              <a:avLst/>
              <a:gdLst>
                <a:gd name="connsiteX0" fmla="*/ 1673975 w 3309434"/>
                <a:gd name="connsiteY0" fmla="*/ 1257349 h 3210388"/>
                <a:gd name="connsiteX1" fmla="*/ 1954745 w 3309434"/>
                <a:gd name="connsiteY1" fmla="*/ 1538119 h 3210388"/>
                <a:gd name="connsiteX2" fmla="*/ 1673975 w 3309434"/>
                <a:gd name="connsiteY2" fmla="*/ 1818889 h 3210388"/>
                <a:gd name="connsiteX3" fmla="*/ 1393205 w 3309434"/>
                <a:gd name="connsiteY3" fmla="*/ 1538119 h 3210388"/>
                <a:gd name="connsiteX4" fmla="*/ 1673975 w 3309434"/>
                <a:gd name="connsiteY4" fmla="*/ 1257349 h 3210388"/>
                <a:gd name="connsiteX5" fmla="*/ 2106918 w 3309434"/>
                <a:gd name="connsiteY5" fmla="*/ 0 h 3210388"/>
                <a:gd name="connsiteX6" fmla="*/ 2884238 w 3309434"/>
                <a:gd name="connsiteY6" fmla="*/ 777320 h 3210388"/>
                <a:gd name="connsiteX7" fmla="*/ 2854173 w 3309434"/>
                <a:gd name="connsiteY7" fmla="*/ 979964 h 3210388"/>
                <a:gd name="connsiteX8" fmla="*/ 3309434 w 3309434"/>
                <a:gd name="connsiteY8" fmla="*/ 1598558 h 3210388"/>
                <a:gd name="connsiteX9" fmla="*/ 2649521 w 3309434"/>
                <a:gd name="connsiteY9" fmla="*/ 2258471 h 3210388"/>
                <a:gd name="connsiteX10" fmla="*/ 2649501 w 3309434"/>
                <a:gd name="connsiteY10" fmla="*/ 2258467 h 3210388"/>
                <a:gd name="connsiteX11" fmla="*/ 1763246 w 3309434"/>
                <a:gd name="connsiteY11" fmla="*/ 2258467 h 3210388"/>
                <a:gd name="connsiteX12" fmla="*/ 1763246 w 3309434"/>
                <a:gd name="connsiteY12" fmla="*/ 2015630 h 3210388"/>
                <a:gd name="connsiteX13" fmla="*/ 1772024 w 3309434"/>
                <a:gd name="connsiteY13" fmla="*/ 2014745 h 3210388"/>
                <a:gd name="connsiteX14" fmla="*/ 2017990 w 3309434"/>
                <a:gd name="connsiteY14" fmla="*/ 1882134 h 3210388"/>
                <a:gd name="connsiteX15" fmla="*/ 2052965 w 3309434"/>
                <a:gd name="connsiteY15" fmla="*/ 1839743 h 3210388"/>
                <a:gd name="connsiteX16" fmla="*/ 2317440 w 3309434"/>
                <a:gd name="connsiteY16" fmla="*/ 1992438 h 3210388"/>
                <a:gd name="connsiteX17" fmla="*/ 2236929 w 3309434"/>
                <a:gd name="connsiteY17" fmla="*/ 2131887 h 3210388"/>
                <a:gd name="connsiteX18" fmla="*/ 2574490 w 3309434"/>
                <a:gd name="connsiteY18" fmla="*/ 2048736 h 3210388"/>
                <a:gd name="connsiteX19" fmla="*/ 2477721 w 3309434"/>
                <a:gd name="connsiteY19" fmla="*/ 1714823 h 3210388"/>
                <a:gd name="connsiteX20" fmla="*/ 2397210 w 3309434"/>
                <a:gd name="connsiteY20" fmla="*/ 1854272 h 3210388"/>
                <a:gd name="connsiteX21" fmla="*/ 2130667 w 3309434"/>
                <a:gd name="connsiteY21" fmla="*/ 1700384 h 3210388"/>
                <a:gd name="connsiteX22" fmla="*/ 2150601 w 3309434"/>
                <a:gd name="connsiteY22" fmla="*/ 1636168 h 3210388"/>
                <a:gd name="connsiteX23" fmla="*/ 2160485 w 3309434"/>
                <a:gd name="connsiteY23" fmla="*/ 1538119 h 3210388"/>
                <a:gd name="connsiteX24" fmla="*/ 2150601 w 3309434"/>
                <a:gd name="connsiteY24" fmla="*/ 1440071 h 3210388"/>
                <a:gd name="connsiteX25" fmla="*/ 2127329 w 3309434"/>
                <a:gd name="connsiteY25" fmla="*/ 1365100 h 3210388"/>
                <a:gd name="connsiteX26" fmla="*/ 2398569 w 3309434"/>
                <a:gd name="connsiteY26" fmla="*/ 1208499 h 3210388"/>
                <a:gd name="connsiteX27" fmla="*/ 2479080 w 3309434"/>
                <a:gd name="connsiteY27" fmla="*/ 1347948 h 3210388"/>
                <a:gd name="connsiteX28" fmla="*/ 2575849 w 3309434"/>
                <a:gd name="connsiteY28" fmla="*/ 1014036 h 3210388"/>
                <a:gd name="connsiteX29" fmla="*/ 2238288 w 3309434"/>
                <a:gd name="connsiteY29" fmla="*/ 930884 h 3210388"/>
                <a:gd name="connsiteX30" fmla="*/ 2318799 w 3309434"/>
                <a:gd name="connsiteY30" fmla="*/ 1070333 h 3210388"/>
                <a:gd name="connsiteX31" fmla="*/ 2045877 w 3309434"/>
                <a:gd name="connsiteY31" fmla="*/ 1227905 h 3210388"/>
                <a:gd name="connsiteX32" fmla="*/ 2017990 w 3309434"/>
                <a:gd name="connsiteY32" fmla="*/ 1194105 h 3210388"/>
                <a:gd name="connsiteX33" fmla="*/ 1772024 w 3309434"/>
                <a:gd name="connsiteY33" fmla="*/ 1061493 h 3210388"/>
                <a:gd name="connsiteX34" fmla="*/ 1748359 w 3309434"/>
                <a:gd name="connsiteY34" fmla="*/ 1059108 h 3210388"/>
                <a:gd name="connsiteX35" fmla="*/ 1748359 w 3309434"/>
                <a:gd name="connsiteY35" fmla="*/ 766561 h 3210388"/>
                <a:gd name="connsiteX36" fmla="*/ 1909381 w 3309434"/>
                <a:gd name="connsiteY36" fmla="*/ 766561 h 3210388"/>
                <a:gd name="connsiteX37" fmla="*/ 1668589 w 3309434"/>
                <a:gd name="connsiteY37" fmla="*/ 515800 h 3210388"/>
                <a:gd name="connsiteX38" fmla="*/ 1427797 w 3309434"/>
                <a:gd name="connsiteY38" fmla="*/ 766561 h 3210388"/>
                <a:gd name="connsiteX39" fmla="*/ 1588819 w 3309434"/>
                <a:gd name="connsiteY39" fmla="*/ 766561 h 3210388"/>
                <a:gd name="connsiteX40" fmla="*/ 1588819 w 3309434"/>
                <a:gd name="connsiteY40" fmla="*/ 1060194 h 3210388"/>
                <a:gd name="connsiteX41" fmla="*/ 1575927 w 3309434"/>
                <a:gd name="connsiteY41" fmla="*/ 1061493 h 3210388"/>
                <a:gd name="connsiteX42" fmla="*/ 1329960 w 3309434"/>
                <a:gd name="connsiteY42" fmla="*/ 1194105 h 3210388"/>
                <a:gd name="connsiteX43" fmla="*/ 1287232 w 3309434"/>
                <a:gd name="connsiteY43" fmla="*/ 1245892 h 3210388"/>
                <a:gd name="connsiteX44" fmla="*/ 1026832 w 3309434"/>
                <a:gd name="connsiteY44" fmla="*/ 1095549 h 3210388"/>
                <a:gd name="connsiteX45" fmla="*/ 1107343 w 3309434"/>
                <a:gd name="connsiteY45" fmla="*/ 956100 h 3210388"/>
                <a:gd name="connsiteX46" fmla="*/ 769782 w 3309434"/>
                <a:gd name="connsiteY46" fmla="*/ 1039252 h 3210388"/>
                <a:gd name="connsiteX47" fmla="*/ 866551 w 3309434"/>
                <a:gd name="connsiteY47" fmla="*/ 1373164 h 3210388"/>
                <a:gd name="connsiteX48" fmla="*/ 947062 w 3309434"/>
                <a:gd name="connsiteY48" fmla="*/ 1233715 h 3210388"/>
                <a:gd name="connsiteX49" fmla="*/ 1213631 w 3309434"/>
                <a:gd name="connsiteY49" fmla="*/ 1387619 h 3210388"/>
                <a:gd name="connsiteX50" fmla="*/ 1197349 w 3309434"/>
                <a:gd name="connsiteY50" fmla="*/ 1440071 h 3210388"/>
                <a:gd name="connsiteX51" fmla="*/ 1187465 w 3309434"/>
                <a:gd name="connsiteY51" fmla="*/ 1538119 h 3210388"/>
                <a:gd name="connsiteX52" fmla="*/ 1197349 w 3309434"/>
                <a:gd name="connsiteY52" fmla="*/ 1636168 h 3210388"/>
                <a:gd name="connsiteX53" fmla="*/ 1222347 w 3309434"/>
                <a:gd name="connsiteY53" fmla="*/ 1716700 h 3210388"/>
                <a:gd name="connsiteX54" fmla="*/ 968458 w 3309434"/>
                <a:gd name="connsiteY54" fmla="*/ 1863283 h 3210388"/>
                <a:gd name="connsiteX55" fmla="*/ 887947 w 3309434"/>
                <a:gd name="connsiteY55" fmla="*/ 1723834 h 3210388"/>
                <a:gd name="connsiteX56" fmla="*/ 791178 w 3309434"/>
                <a:gd name="connsiteY56" fmla="*/ 2057747 h 3210388"/>
                <a:gd name="connsiteX57" fmla="*/ 1128739 w 3309434"/>
                <a:gd name="connsiteY57" fmla="*/ 2140898 h 3210388"/>
                <a:gd name="connsiteX58" fmla="*/ 1048228 w 3309434"/>
                <a:gd name="connsiteY58" fmla="*/ 2001449 h 3210388"/>
                <a:gd name="connsiteX59" fmla="*/ 1305738 w 3309434"/>
                <a:gd name="connsiteY59" fmla="*/ 1852776 h 3210388"/>
                <a:gd name="connsiteX60" fmla="*/ 1329960 w 3309434"/>
                <a:gd name="connsiteY60" fmla="*/ 1882134 h 3210388"/>
                <a:gd name="connsiteX61" fmla="*/ 1575927 w 3309434"/>
                <a:gd name="connsiteY61" fmla="*/ 2014745 h 3210388"/>
                <a:gd name="connsiteX62" fmla="*/ 1583476 w 3309434"/>
                <a:gd name="connsiteY62" fmla="*/ 2015506 h 3210388"/>
                <a:gd name="connsiteX63" fmla="*/ 1583476 w 3309434"/>
                <a:gd name="connsiteY63" fmla="*/ 2257267 h 3210388"/>
                <a:gd name="connsiteX64" fmla="*/ 1758474 w 3309434"/>
                <a:gd name="connsiteY64" fmla="*/ 2257267 h 3210388"/>
                <a:gd name="connsiteX65" fmla="*/ 1758474 w 3309434"/>
                <a:gd name="connsiteY65" fmla="*/ 2692027 h 3210388"/>
                <a:gd name="connsiteX66" fmla="*/ 1772705 w 3309434"/>
                <a:gd name="connsiteY66" fmla="*/ 2696444 h 3210388"/>
                <a:gd name="connsiteX67" fmla="*/ 1936071 w 3309434"/>
                <a:gd name="connsiteY67" fmla="*/ 2942906 h 3210388"/>
                <a:gd name="connsiteX68" fmla="*/ 1668589 w 3309434"/>
                <a:gd name="connsiteY68" fmla="*/ 3210388 h 3210388"/>
                <a:gd name="connsiteX69" fmla="*/ 1401107 w 3309434"/>
                <a:gd name="connsiteY69" fmla="*/ 2942906 h 3210388"/>
                <a:gd name="connsiteX70" fmla="*/ 1564473 w 3309434"/>
                <a:gd name="connsiteY70" fmla="*/ 2696444 h 3210388"/>
                <a:gd name="connsiteX71" fmla="*/ 1578704 w 3309434"/>
                <a:gd name="connsiteY71" fmla="*/ 2692027 h 3210388"/>
                <a:gd name="connsiteX72" fmla="*/ 1578704 w 3309434"/>
                <a:gd name="connsiteY72" fmla="*/ 2258467 h 3210388"/>
                <a:gd name="connsiteX73" fmla="*/ 659954 w 3309434"/>
                <a:gd name="connsiteY73" fmla="*/ 2258467 h 3210388"/>
                <a:gd name="connsiteX74" fmla="*/ 659913 w 3309434"/>
                <a:gd name="connsiteY74" fmla="*/ 2258475 h 3210388"/>
                <a:gd name="connsiteX75" fmla="*/ 0 w 3309434"/>
                <a:gd name="connsiteY75" fmla="*/ 1598563 h 3210388"/>
                <a:gd name="connsiteX76" fmla="*/ 453504 w 3309434"/>
                <a:gd name="connsiteY76" fmla="*/ 980322 h 3210388"/>
                <a:gd name="connsiteX77" fmla="*/ 420413 w 3309434"/>
                <a:gd name="connsiteY77" fmla="*/ 816422 h 3210388"/>
                <a:gd name="connsiteX78" fmla="*/ 962984 w 3309434"/>
                <a:gd name="connsiteY78" fmla="*/ 273851 h 3210388"/>
                <a:gd name="connsiteX79" fmla="*/ 1385721 w 3309434"/>
                <a:gd name="connsiteY79" fmla="*/ 490734 h 3210388"/>
                <a:gd name="connsiteX80" fmla="*/ 2106918 w 3309434"/>
                <a:gd name="connsiteY80" fmla="*/ 0 h 321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309434" h="3210388">
                  <a:moveTo>
                    <a:pt x="1673975" y="1257349"/>
                  </a:moveTo>
                  <a:cubicBezTo>
                    <a:pt x="1829040" y="1257349"/>
                    <a:pt x="1954745" y="1383054"/>
                    <a:pt x="1954745" y="1538119"/>
                  </a:cubicBezTo>
                  <a:cubicBezTo>
                    <a:pt x="1954745" y="1693184"/>
                    <a:pt x="1829040" y="1818889"/>
                    <a:pt x="1673975" y="1818889"/>
                  </a:cubicBezTo>
                  <a:cubicBezTo>
                    <a:pt x="1518910" y="1818889"/>
                    <a:pt x="1393205" y="1693184"/>
                    <a:pt x="1393205" y="1538119"/>
                  </a:cubicBezTo>
                  <a:cubicBezTo>
                    <a:pt x="1393205" y="1383054"/>
                    <a:pt x="1518910" y="1257349"/>
                    <a:pt x="1673975" y="1257349"/>
                  </a:cubicBezTo>
                  <a:close/>
                  <a:moveTo>
                    <a:pt x="2106918" y="0"/>
                  </a:moveTo>
                  <a:cubicBezTo>
                    <a:pt x="2536219" y="0"/>
                    <a:pt x="2884238" y="348019"/>
                    <a:pt x="2884238" y="777320"/>
                  </a:cubicBezTo>
                  <a:cubicBezTo>
                    <a:pt x="2884238" y="847731"/>
                    <a:pt x="2874877" y="915954"/>
                    <a:pt x="2854173" y="979964"/>
                  </a:cubicBezTo>
                  <a:cubicBezTo>
                    <a:pt x="3119739" y="1058796"/>
                    <a:pt x="3309434" y="1306528"/>
                    <a:pt x="3309434" y="1598558"/>
                  </a:cubicBezTo>
                  <a:cubicBezTo>
                    <a:pt x="3309434" y="1963016"/>
                    <a:pt x="3013979" y="2258471"/>
                    <a:pt x="2649521" y="2258471"/>
                  </a:cubicBezTo>
                  <a:lnTo>
                    <a:pt x="2649501" y="2258467"/>
                  </a:lnTo>
                  <a:lnTo>
                    <a:pt x="1763246" y="2258467"/>
                  </a:lnTo>
                  <a:lnTo>
                    <a:pt x="1763246" y="2015630"/>
                  </a:lnTo>
                  <a:lnTo>
                    <a:pt x="1772024" y="2014745"/>
                  </a:lnTo>
                  <a:cubicBezTo>
                    <a:pt x="1867036" y="1995303"/>
                    <a:pt x="1951959" y="1948165"/>
                    <a:pt x="2017990" y="1882134"/>
                  </a:cubicBezTo>
                  <a:lnTo>
                    <a:pt x="2052965" y="1839743"/>
                  </a:lnTo>
                  <a:lnTo>
                    <a:pt x="2317440" y="1992438"/>
                  </a:lnTo>
                  <a:lnTo>
                    <a:pt x="2236929" y="2131887"/>
                  </a:lnTo>
                  <a:lnTo>
                    <a:pt x="2574490" y="2048736"/>
                  </a:lnTo>
                  <a:lnTo>
                    <a:pt x="2477721" y="1714823"/>
                  </a:lnTo>
                  <a:lnTo>
                    <a:pt x="2397210" y="1854272"/>
                  </a:lnTo>
                  <a:lnTo>
                    <a:pt x="2130667" y="1700384"/>
                  </a:lnTo>
                  <a:lnTo>
                    <a:pt x="2150601" y="1636168"/>
                  </a:lnTo>
                  <a:cubicBezTo>
                    <a:pt x="2157082" y="1604497"/>
                    <a:pt x="2160485" y="1571706"/>
                    <a:pt x="2160485" y="1538119"/>
                  </a:cubicBezTo>
                  <a:cubicBezTo>
                    <a:pt x="2160485" y="1504533"/>
                    <a:pt x="2157082" y="1471741"/>
                    <a:pt x="2150601" y="1440071"/>
                  </a:cubicBezTo>
                  <a:lnTo>
                    <a:pt x="2127329" y="1365100"/>
                  </a:lnTo>
                  <a:lnTo>
                    <a:pt x="2398569" y="1208499"/>
                  </a:lnTo>
                  <a:lnTo>
                    <a:pt x="2479080" y="1347948"/>
                  </a:lnTo>
                  <a:lnTo>
                    <a:pt x="2575849" y="1014036"/>
                  </a:lnTo>
                  <a:lnTo>
                    <a:pt x="2238288" y="930884"/>
                  </a:lnTo>
                  <a:lnTo>
                    <a:pt x="2318799" y="1070333"/>
                  </a:lnTo>
                  <a:lnTo>
                    <a:pt x="2045877" y="1227905"/>
                  </a:lnTo>
                  <a:lnTo>
                    <a:pt x="2017990" y="1194105"/>
                  </a:lnTo>
                  <a:cubicBezTo>
                    <a:pt x="1951959" y="1128074"/>
                    <a:pt x="1867036" y="1080936"/>
                    <a:pt x="1772024" y="1061493"/>
                  </a:cubicBezTo>
                  <a:lnTo>
                    <a:pt x="1748359" y="1059108"/>
                  </a:lnTo>
                  <a:lnTo>
                    <a:pt x="1748359" y="766561"/>
                  </a:lnTo>
                  <a:lnTo>
                    <a:pt x="1909381" y="766561"/>
                  </a:lnTo>
                  <a:lnTo>
                    <a:pt x="1668589" y="515800"/>
                  </a:lnTo>
                  <a:lnTo>
                    <a:pt x="1427797" y="766561"/>
                  </a:lnTo>
                  <a:lnTo>
                    <a:pt x="1588819" y="766561"/>
                  </a:lnTo>
                  <a:lnTo>
                    <a:pt x="1588819" y="1060194"/>
                  </a:lnTo>
                  <a:lnTo>
                    <a:pt x="1575927" y="1061493"/>
                  </a:lnTo>
                  <a:cubicBezTo>
                    <a:pt x="1480915" y="1080936"/>
                    <a:pt x="1395991" y="1128074"/>
                    <a:pt x="1329960" y="1194105"/>
                  </a:cubicBezTo>
                  <a:lnTo>
                    <a:pt x="1287232" y="1245892"/>
                  </a:lnTo>
                  <a:lnTo>
                    <a:pt x="1026832" y="1095549"/>
                  </a:lnTo>
                  <a:lnTo>
                    <a:pt x="1107343" y="956100"/>
                  </a:lnTo>
                  <a:lnTo>
                    <a:pt x="769782" y="1039252"/>
                  </a:lnTo>
                  <a:lnTo>
                    <a:pt x="866551" y="1373164"/>
                  </a:lnTo>
                  <a:lnTo>
                    <a:pt x="947062" y="1233715"/>
                  </a:lnTo>
                  <a:lnTo>
                    <a:pt x="1213631" y="1387619"/>
                  </a:lnTo>
                  <a:lnTo>
                    <a:pt x="1197349" y="1440071"/>
                  </a:lnTo>
                  <a:cubicBezTo>
                    <a:pt x="1190868" y="1471741"/>
                    <a:pt x="1187465" y="1504533"/>
                    <a:pt x="1187465" y="1538119"/>
                  </a:cubicBezTo>
                  <a:cubicBezTo>
                    <a:pt x="1187465" y="1571706"/>
                    <a:pt x="1190868" y="1604497"/>
                    <a:pt x="1197349" y="1636168"/>
                  </a:cubicBezTo>
                  <a:lnTo>
                    <a:pt x="1222347" y="1716700"/>
                  </a:lnTo>
                  <a:lnTo>
                    <a:pt x="968458" y="1863283"/>
                  </a:lnTo>
                  <a:lnTo>
                    <a:pt x="887947" y="1723834"/>
                  </a:lnTo>
                  <a:lnTo>
                    <a:pt x="791178" y="2057747"/>
                  </a:lnTo>
                  <a:lnTo>
                    <a:pt x="1128739" y="2140898"/>
                  </a:lnTo>
                  <a:lnTo>
                    <a:pt x="1048228" y="2001449"/>
                  </a:lnTo>
                  <a:lnTo>
                    <a:pt x="1305738" y="1852776"/>
                  </a:lnTo>
                  <a:lnTo>
                    <a:pt x="1329960" y="1882134"/>
                  </a:lnTo>
                  <a:cubicBezTo>
                    <a:pt x="1395991" y="1948165"/>
                    <a:pt x="1480915" y="1995303"/>
                    <a:pt x="1575927" y="2014745"/>
                  </a:cubicBezTo>
                  <a:lnTo>
                    <a:pt x="1583476" y="2015506"/>
                  </a:lnTo>
                  <a:lnTo>
                    <a:pt x="1583476" y="2257267"/>
                  </a:lnTo>
                  <a:lnTo>
                    <a:pt x="1758474" y="2257267"/>
                  </a:lnTo>
                  <a:lnTo>
                    <a:pt x="1758474" y="2692027"/>
                  </a:lnTo>
                  <a:lnTo>
                    <a:pt x="1772705" y="2696444"/>
                  </a:lnTo>
                  <a:cubicBezTo>
                    <a:pt x="1868709" y="2737050"/>
                    <a:pt x="1936071" y="2832112"/>
                    <a:pt x="1936071" y="2942906"/>
                  </a:cubicBezTo>
                  <a:cubicBezTo>
                    <a:pt x="1936071" y="3090632"/>
                    <a:pt x="1816315" y="3210388"/>
                    <a:pt x="1668589" y="3210388"/>
                  </a:cubicBezTo>
                  <a:cubicBezTo>
                    <a:pt x="1520863" y="3210388"/>
                    <a:pt x="1401107" y="3090632"/>
                    <a:pt x="1401107" y="2942906"/>
                  </a:cubicBezTo>
                  <a:cubicBezTo>
                    <a:pt x="1401107" y="2832112"/>
                    <a:pt x="1468470" y="2737050"/>
                    <a:pt x="1564473" y="2696444"/>
                  </a:cubicBezTo>
                  <a:lnTo>
                    <a:pt x="1578704" y="2692027"/>
                  </a:lnTo>
                  <a:lnTo>
                    <a:pt x="1578704" y="2258467"/>
                  </a:lnTo>
                  <a:lnTo>
                    <a:pt x="659954" y="2258467"/>
                  </a:lnTo>
                  <a:cubicBezTo>
                    <a:pt x="659942" y="2258475"/>
                    <a:pt x="659925" y="2258475"/>
                    <a:pt x="659913" y="2258475"/>
                  </a:cubicBezTo>
                  <a:cubicBezTo>
                    <a:pt x="295455" y="2258475"/>
                    <a:pt x="0" y="1963020"/>
                    <a:pt x="0" y="1598563"/>
                  </a:cubicBezTo>
                  <a:cubicBezTo>
                    <a:pt x="0" y="1307168"/>
                    <a:pt x="188874" y="1059880"/>
                    <a:pt x="453504" y="980322"/>
                  </a:cubicBezTo>
                  <a:cubicBezTo>
                    <a:pt x="429507" y="930246"/>
                    <a:pt x="420413" y="874397"/>
                    <a:pt x="420413" y="816422"/>
                  </a:cubicBezTo>
                  <a:cubicBezTo>
                    <a:pt x="420413" y="516767"/>
                    <a:pt x="663329" y="273851"/>
                    <a:pt x="962984" y="273851"/>
                  </a:cubicBezTo>
                  <a:cubicBezTo>
                    <a:pt x="1137960" y="273851"/>
                    <a:pt x="1293591" y="356678"/>
                    <a:pt x="1385721" y="490734"/>
                  </a:cubicBezTo>
                  <a:cubicBezTo>
                    <a:pt x="1498567" y="203005"/>
                    <a:pt x="1779037" y="0"/>
                    <a:pt x="210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45718"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6" name="Active Directory Icon"/>
            <p:cNvSpPr>
              <a:spLocks noChangeAspect="1"/>
            </p:cNvSpPr>
            <p:nvPr/>
          </p:nvSpPr>
          <p:spPr>
            <a:xfrm>
              <a:off x="9221741" y="6097651"/>
              <a:ext cx="443984" cy="462534"/>
            </a:xfrm>
            <a:custGeom>
              <a:avLst/>
              <a:gdLst>
                <a:gd name="connsiteX0" fmla="*/ 227817 w 430087"/>
                <a:gd name="connsiteY0" fmla="*/ 190781 h 448056"/>
                <a:gd name="connsiteX1" fmla="*/ 278783 w 430087"/>
                <a:gd name="connsiteY1" fmla="*/ 246846 h 448056"/>
                <a:gd name="connsiteX2" fmla="*/ 276735 w 430087"/>
                <a:gd name="connsiteY2" fmla="*/ 256988 h 448056"/>
                <a:gd name="connsiteX3" fmla="*/ 277791 w 430087"/>
                <a:gd name="connsiteY3" fmla="*/ 262217 h 448056"/>
                <a:gd name="connsiteX4" fmla="*/ 224432 w 430087"/>
                <a:gd name="connsiteY4" fmla="*/ 306139 h 448056"/>
                <a:gd name="connsiteX5" fmla="*/ 221132 w 430087"/>
                <a:gd name="connsiteY5" fmla="*/ 305472 h 448056"/>
                <a:gd name="connsiteX6" fmla="*/ 221132 w 430087"/>
                <a:gd name="connsiteY6" fmla="*/ 192687 h 448056"/>
                <a:gd name="connsiteX7" fmla="*/ 221938 w 430087"/>
                <a:gd name="connsiteY7" fmla="*/ 192605 h 448056"/>
                <a:gd name="connsiteX8" fmla="*/ 197960 w 430087"/>
                <a:gd name="connsiteY8" fmla="*/ 188072 h 448056"/>
                <a:gd name="connsiteX9" fmla="*/ 201727 w 430087"/>
                <a:gd name="connsiteY9" fmla="*/ 190612 h 448056"/>
                <a:gd name="connsiteX10" fmla="*/ 203867 w 430087"/>
                <a:gd name="connsiteY10" fmla="*/ 191276 h 448056"/>
                <a:gd name="connsiteX11" fmla="*/ 203867 w 430087"/>
                <a:gd name="connsiteY11" fmla="*/ 306873 h 448056"/>
                <a:gd name="connsiteX12" fmla="*/ 155627 w 430087"/>
                <a:gd name="connsiteY12" fmla="*/ 267164 h 448056"/>
                <a:gd name="connsiteX13" fmla="*/ 156887 w 430087"/>
                <a:gd name="connsiteY13" fmla="*/ 263103 h 448056"/>
                <a:gd name="connsiteX14" fmla="*/ 157504 w 430087"/>
                <a:gd name="connsiteY14" fmla="*/ 256988 h 448056"/>
                <a:gd name="connsiteX15" fmla="*/ 155119 w 430087"/>
                <a:gd name="connsiteY15" fmla="*/ 245177 h 448056"/>
                <a:gd name="connsiteX16" fmla="*/ 151257 w 430087"/>
                <a:gd name="connsiteY16" fmla="*/ 239449 h 448056"/>
                <a:gd name="connsiteX17" fmla="*/ 215044 w 430087"/>
                <a:gd name="connsiteY17" fmla="*/ 124878 h 448056"/>
                <a:gd name="connsiteX18" fmla="*/ 180833 w 430087"/>
                <a:gd name="connsiteY18" fmla="*/ 159089 h 448056"/>
                <a:gd name="connsiteX19" fmla="*/ 183521 w 430087"/>
                <a:gd name="connsiteY19" fmla="*/ 172406 h 448056"/>
                <a:gd name="connsiteX20" fmla="*/ 185798 w 430087"/>
                <a:gd name="connsiteY20" fmla="*/ 175783 h 448056"/>
                <a:gd name="connsiteX21" fmla="*/ 137742 w 430087"/>
                <a:gd name="connsiteY21" fmla="*/ 228648 h 448056"/>
                <a:gd name="connsiteX22" fmla="*/ 133277 w 430087"/>
                <a:gd name="connsiteY22" fmla="*/ 227262 h 448056"/>
                <a:gd name="connsiteX23" fmla="*/ 127161 w 430087"/>
                <a:gd name="connsiteY23" fmla="*/ 226646 h 448056"/>
                <a:gd name="connsiteX24" fmla="*/ 96819 w 430087"/>
                <a:gd name="connsiteY24" fmla="*/ 256988 h 448056"/>
                <a:gd name="connsiteX25" fmla="*/ 127161 w 430087"/>
                <a:gd name="connsiteY25" fmla="*/ 287331 h 448056"/>
                <a:gd name="connsiteX26" fmla="*/ 138972 w 430087"/>
                <a:gd name="connsiteY26" fmla="*/ 284946 h 448056"/>
                <a:gd name="connsiteX27" fmla="*/ 145069 w 430087"/>
                <a:gd name="connsiteY27" fmla="*/ 280836 h 448056"/>
                <a:gd name="connsiteX28" fmla="*/ 191749 w 430087"/>
                <a:gd name="connsiteY28" fmla="*/ 319260 h 448056"/>
                <a:gd name="connsiteX29" fmla="*/ 191233 w 430087"/>
                <a:gd name="connsiteY29" fmla="*/ 320026 h 448056"/>
                <a:gd name="connsiteX30" fmla="*/ 189202 w 430087"/>
                <a:gd name="connsiteY30" fmla="*/ 330085 h 448056"/>
                <a:gd name="connsiteX31" fmla="*/ 215044 w 430087"/>
                <a:gd name="connsiteY31" fmla="*/ 355926 h 448056"/>
                <a:gd name="connsiteX32" fmla="*/ 240885 w 430087"/>
                <a:gd name="connsiteY32" fmla="*/ 330085 h 448056"/>
                <a:gd name="connsiteX33" fmla="*/ 238855 w 430087"/>
                <a:gd name="connsiteY33" fmla="*/ 320026 h 448056"/>
                <a:gd name="connsiteX34" fmla="*/ 237382 w 430087"/>
                <a:gd name="connsiteY34" fmla="*/ 317841 h 448056"/>
                <a:gd name="connsiteX35" fmla="*/ 285487 w 430087"/>
                <a:gd name="connsiteY35" fmla="*/ 278244 h 448056"/>
                <a:gd name="connsiteX36" fmla="*/ 285622 w 430087"/>
                <a:gd name="connsiteY36" fmla="*/ 278444 h 448056"/>
                <a:gd name="connsiteX37" fmla="*/ 307078 w 430087"/>
                <a:gd name="connsiteY37" fmla="*/ 287331 h 448056"/>
                <a:gd name="connsiteX38" fmla="*/ 337420 w 430087"/>
                <a:gd name="connsiteY38" fmla="*/ 256988 h 448056"/>
                <a:gd name="connsiteX39" fmla="*/ 307078 w 430087"/>
                <a:gd name="connsiteY39" fmla="*/ 226646 h 448056"/>
                <a:gd name="connsiteX40" fmla="*/ 295267 w 430087"/>
                <a:gd name="connsiteY40" fmla="*/ 229030 h 448056"/>
                <a:gd name="connsiteX41" fmla="*/ 289471 w 430087"/>
                <a:gd name="connsiteY41" fmla="*/ 232937 h 448056"/>
                <a:gd name="connsiteX42" fmla="*/ 241405 w 430087"/>
                <a:gd name="connsiteY42" fmla="*/ 180061 h 448056"/>
                <a:gd name="connsiteX43" fmla="*/ 246566 w 430087"/>
                <a:gd name="connsiteY43" fmla="*/ 172406 h 448056"/>
                <a:gd name="connsiteX44" fmla="*/ 249255 w 430087"/>
                <a:gd name="connsiteY44" fmla="*/ 159089 h 448056"/>
                <a:gd name="connsiteX45" fmla="*/ 215044 w 430087"/>
                <a:gd name="connsiteY45" fmla="*/ 124878 h 448056"/>
                <a:gd name="connsiteX46" fmla="*/ 215044 w 430087"/>
                <a:gd name="connsiteY46" fmla="*/ 0 h 448056"/>
                <a:gd name="connsiteX47" fmla="*/ 430087 w 430087"/>
                <a:gd name="connsiteY47" fmla="*/ 270047 h 448056"/>
                <a:gd name="connsiteX48" fmla="*/ 215044 w 430087"/>
                <a:gd name="connsiteY48" fmla="*/ 448056 h 448056"/>
                <a:gd name="connsiteX49" fmla="*/ 0 w 430087"/>
                <a:gd name="connsiteY49" fmla="*/ 270047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30087" h="448056">
                  <a:moveTo>
                    <a:pt x="227817" y="190781"/>
                  </a:moveTo>
                  <a:lnTo>
                    <a:pt x="278783" y="246846"/>
                  </a:lnTo>
                  <a:lnTo>
                    <a:pt x="276735" y="256988"/>
                  </a:lnTo>
                  <a:lnTo>
                    <a:pt x="277791" y="262217"/>
                  </a:lnTo>
                  <a:lnTo>
                    <a:pt x="224432" y="306139"/>
                  </a:lnTo>
                  <a:lnTo>
                    <a:pt x="221132" y="305472"/>
                  </a:lnTo>
                  <a:lnTo>
                    <a:pt x="221132" y="192687"/>
                  </a:lnTo>
                  <a:lnTo>
                    <a:pt x="221938" y="192605"/>
                  </a:lnTo>
                  <a:close/>
                  <a:moveTo>
                    <a:pt x="197960" y="188072"/>
                  </a:moveTo>
                  <a:lnTo>
                    <a:pt x="201727" y="190612"/>
                  </a:lnTo>
                  <a:lnTo>
                    <a:pt x="203867" y="191276"/>
                  </a:lnTo>
                  <a:lnTo>
                    <a:pt x="203867" y="306873"/>
                  </a:lnTo>
                  <a:lnTo>
                    <a:pt x="155627" y="267164"/>
                  </a:lnTo>
                  <a:lnTo>
                    <a:pt x="156887" y="263103"/>
                  </a:lnTo>
                  <a:cubicBezTo>
                    <a:pt x="157292" y="261128"/>
                    <a:pt x="157504" y="259083"/>
                    <a:pt x="157504" y="256988"/>
                  </a:cubicBezTo>
                  <a:cubicBezTo>
                    <a:pt x="157504" y="252799"/>
                    <a:pt x="156655" y="248808"/>
                    <a:pt x="155119" y="245177"/>
                  </a:cubicBezTo>
                  <a:lnTo>
                    <a:pt x="151257" y="239449"/>
                  </a:lnTo>
                  <a:close/>
                  <a:moveTo>
                    <a:pt x="215044" y="124878"/>
                  </a:moveTo>
                  <a:cubicBezTo>
                    <a:pt x="196150" y="124878"/>
                    <a:pt x="180833" y="140195"/>
                    <a:pt x="180833" y="159089"/>
                  </a:cubicBezTo>
                  <a:cubicBezTo>
                    <a:pt x="180833" y="163813"/>
                    <a:pt x="181790" y="168313"/>
                    <a:pt x="183521" y="172406"/>
                  </a:cubicBezTo>
                  <a:lnTo>
                    <a:pt x="185798" y="175783"/>
                  </a:lnTo>
                  <a:lnTo>
                    <a:pt x="137742" y="228648"/>
                  </a:lnTo>
                  <a:lnTo>
                    <a:pt x="133277" y="227262"/>
                  </a:lnTo>
                  <a:cubicBezTo>
                    <a:pt x="131301" y="226858"/>
                    <a:pt x="129256" y="226646"/>
                    <a:pt x="127161" y="226646"/>
                  </a:cubicBezTo>
                  <a:cubicBezTo>
                    <a:pt x="110404" y="226646"/>
                    <a:pt x="96819" y="240230"/>
                    <a:pt x="96819" y="256988"/>
                  </a:cubicBezTo>
                  <a:cubicBezTo>
                    <a:pt x="96819" y="273746"/>
                    <a:pt x="110404" y="287331"/>
                    <a:pt x="127161" y="287331"/>
                  </a:cubicBezTo>
                  <a:cubicBezTo>
                    <a:pt x="131351" y="287331"/>
                    <a:pt x="135342" y="286482"/>
                    <a:pt x="138972" y="284946"/>
                  </a:cubicBezTo>
                  <a:lnTo>
                    <a:pt x="145069" y="280836"/>
                  </a:lnTo>
                  <a:lnTo>
                    <a:pt x="191749" y="319260"/>
                  </a:lnTo>
                  <a:lnTo>
                    <a:pt x="191233" y="320026"/>
                  </a:lnTo>
                  <a:cubicBezTo>
                    <a:pt x="189925" y="323118"/>
                    <a:pt x="189202" y="326517"/>
                    <a:pt x="189202" y="330085"/>
                  </a:cubicBezTo>
                  <a:cubicBezTo>
                    <a:pt x="189202" y="344357"/>
                    <a:pt x="200772" y="355926"/>
                    <a:pt x="215044" y="355926"/>
                  </a:cubicBezTo>
                  <a:cubicBezTo>
                    <a:pt x="229316" y="355926"/>
                    <a:pt x="240885" y="344357"/>
                    <a:pt x="240885" y="330085"/>
                  </a:cubicBezTo>
                  <a:cubicBezTo>
                    <a:pt x="240885" y="326517"/>
                    <a:pt x="240162" y="323118"/>
                    <a:pt x="238855" y="320026"/>
                  </a:cubicBezTo>
                  <a:lnTo>
                    <a:pt x="237382" y="317841"/>
                  </a:lnTo>
                  <a:lnTo>
                    <a:pt x="285487" y="278244"/>
                  </a:lnTo>
                  <a:lnTo>
                    <a:pt x="285622" y="278444"/>
                  </a:lnTo>
                  <a:cubicBezTo>
                    <a:pt x="291113" y="283935"/>
                    <a:pt x="298699" y="287331"/>
                    <a:pt x="307078" y="287331"/>
                  </a:cubicBezTo>
                  <a:cubicBezTo>
                    <a:pt x="323835" y="287331"/>
                    <a:pt x="337420" y="273746"/>
                    <a:pt x="337420" y="256988"/>
                  </a:cubicBezTo>
                  <a:cubicBezTo>
                    <a:pt x="337420" y="240230"/>
                    <a:pt x="323835" y="226646"/>
                    <a:pt x="307078" y="226646"/>
                  </a:cubicBezTo>
                  <a:cubicBezTo>
                    <a:pt x="302888" y="226646"/>
                    <a:pt x="298897" y="227495"/>
                    <a:pt x="295267" y="229030"/>
                  </a:cubicBezTo>
                  <a:lnTo>
                    <a:pt x="289471" y="232937"/>
                  </a:lnTo>
                  <a:lnTo>
                    <a:pt x="241405" y="180061"/>
                  </a:lnTo>
                  <a:lnTo>
                    <a:pt x="246566" y="172406"/>
                  </a:lnTo>
                  <a:cubicBezTo>
                    <a:pt x="248298" y="168313"/>
                    <a:pt x="249255" y="163813"/>
                    <a:pt x="249255" y="159089"/>
                  </a:cubicBezTo>
                  <a:cubicBezTo>
                    <a:pt x="249255" y="140195"/>
                    <a:pt x="233938" y="124878"/>
                    <a:pt x="215044" y="124878"/>
                  </a:cubicBezTo>
                  <a:close/>
                  <a:moveTo>
                    <a:pt x="215044" y="0"/>
                  </a:moveTo>
                  <a:lnTo>
                    <a:pt x="430087" y="270047"/>
                  </a:lnTo>
                  <a:lnTo>
                    <a:pt x="215044" y="448056"/>
                  </a:lnTo>
                  <a:lnTo>
                    <a:pt x="0" y="27004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57" name="Service Bus Icon"/>
            <p:cNvSpPr>
              <a:spLocks noChangeAspect="1"/>
            </p:cNvSpPr>
            <p:nvPr/>
          </p:nvSpPr>
          <p:spPr>
            <a:xfrm>
              <a:off x="7203793" y="6080313"/>
              <a:ext cx="436814" cy="497208"/>
            </a:xfrm>
            <a:custGeom>
              <a:avLst/>
              <a:gdLst>
                <a:gd name="connsiteX0" fmla="*/ 109937 w 393631"/>
                <a:gd name="connsiteY0" fmla="*/ 255147 h 448056"/>
                <a:gd name="connsiteX1" fmla="*/ 159550 w 393631"/>
                <a:gd name="connsiteY1" fmla="*/ 255147 h 448056"/>
                <a:gd name="connsiteX2" fmla="*/ 159550 w 393631"/>
                <a:gd name="connsiteY2" fmla="*/ 356612 h 448056"/>
                <a:gd name="connsiteX3" fmla="*/ 193061 w 393631"/>
                <a:gd name="connsiteY3" fmla="*/ 356612 h 448056"/>
                <a:gd name="connsiteX4" fmla="*/ 134430 w 393631"/>
                <a:gd name="connsiteY4" fmla="*/ 448056 h 448056"/>
                <a:gd name="connsiteX5" fmla="*/ 75800 w 393631"/>
                <a:gd name="connsiteY5" fmla="*/ 356612 h 448056"/>
                <a:gd name="connsiteX6" fmla="*/ 109937 w 393631"/>
                <a:gd name="connsiteY6" fmla="*/ 356612 h 448056"/>
                <a:gd name="connsiteX7" fmla="*/ 85131 w 393631"/>
                <a:gd name="connsiteY7" fmla="*/ 207227 h 448056"/>
                <a:gd name="connsiteX8" fmla="*/ 197505 w 393631"/>
                <a:gd name="connsiteY8" fmla="*/ 207227 h 448056"/>
                <a:gd name="connsiteX9" fmla="*/ 197505 w 393631"/>
                <a:gd name="connsiteY9" fmla="*/ 233451 h 448056"/>
                <a:gd name="connsiteX10" fmla="*/ 85131 w 393631"/>
                <a:gd name="connsiteY10" fmla="*/ 233451 h 448056"/>
                <a:gd name="connsiteX11" fmla="*/ 85131 w 393631"/>
                <a:gd name="connsiteY11" fmla="*/ 170997 h 448056"/>
                <a:gd name="connsiteX12" fmla="*/ 197505 w 393631"/>
                <a:gd name="connsiteY12" fmla="*/ 170997 h 448056"/>
                <a:gd name="connsiteX13" fmla="*/ 197505 w 393631"/>
                <a:gd name="connsiteY13" fmla="*/ 197220 h 448056"/>
                <a:gd name="connsiteX14" fmla="*/ 85131 w 393631"/>
                <a:gd name="connsiteY14" fmla="*/ 197220 h 448056"/>
                <a:gd name="connsiteX15" fmla="*/ 85131 w 393631"/>
                <a:gd name="connsiteY15" fmla="*/ 134440 h 448056"/>
                <a:gd name="connsiteX16" fmla="*/ 197505 w 393631"/>
                <a:gd name="connsiteY16" fmla="*/ 134440 h 448056"/>
                <a:gd name="connsiteX17" fmla="*/ 197505 w 393631"/>
                <a:gd name="connsiteY17" fmla="*/ 160663 h 448056"/>
                <a:gd name="connsiteX18" fmla="*/ 85131 w 393631"/>
                <a:gd name="connsiteY18" fmla="*/ 160663 h 448056"/>
                <a:gd name="connsiteX19" fmla="*/ 184780 w 393631"/>
                <a:gd name="connsiteY19" fmla="*/ 33581 h 448056"/>
                <a:gd name="connsiteX20" fmla="*/ 306050 w 393631"/>
                <a:gd name="connsiteY20" fmla="*/ 165478 h 448056"/>
                <a:gd name="connsiteX21" fmla="*/ 306020 w 393631"/>
                <a:gd name="connsiteY21" fmla="*/ 182421 h 448056"/>
                <a:gd name="connsiteX22" fmla="*/ 323294 w 393631"/>
                <a:gd name="connsiteY22" fmla="*/ 182360 h 448056"/>
                <a:gd name="connsiteX23" fmla="*/ 323488 w 393631"/>
                <a:gd name="connsiteY23" fmla="*/ 182529 h 448056"/>
                <a:gd name="connsiteX24" fmla="*/ 323884 w 393631"/>
                <a:gd name="connsiteY24" fmla="*/ 182479 h 448056"/>
                <a:gd name="connsiteX25" fmla="*/ 392213 w 393631"/>
                <a:gd name="connsiteY25" fmla="*/ 238169 h 448056"/>
                <a:gd name="connsiteX26" fmla="*/ 393429 w 393631"/>
                <a:gd name="connsiteY26" fmla="*/ 250233 h 448056"/>
                <a:gd name="connsiteX27" fmla="*/ 393631 w 393631"/>
                <a:gd name="connsiteY27" fmla="*/ 250276 h 448056"/>
                <a:gd name="connsiteX28" fmla="*/ 393630 w 393631"/>
                <a:gd name="connsiteY28" fmla="*/ 331260 h 448056"/>
                <a:gd name="connsiteX29" fmla="*/ 344017 w 393631"/>
                <a:gd name="connsiteY29" fmla="*/ 331260 h 448056"/>
                <a:gd name="connsiteX30" fmla="*/ 184779 w 393631"/>
                <a:gd name="connsiteY30" fmla="*/ 331260 h 448056"/>
                <a:gd name="connsiteX31" fmla="*/ 184779 w 393631"/>
                <a:gd name="connsiteY31" fmla="*/ 281647 h 448056"/>
                <a:gd name="connsiteX32" fmla="*/ 343713 w 393631"/>
                <a:gd name="connsiteY32" fmla="*/ 281647 h 448056"/>
                <a:gd name="connsiteX33" fmla="*/ 343607 w 393631"/>
                <a:gd name="connsiteY33" fmla="*/ 274792 h 448056"/>
                <a:gd name="connsiteX34" fmla="*/ 343896 w 393631"/>
                <a:gd name="connsiteY34" fmla="*/ 272497 h 448056"/>
                <a:gd name="connsiteX35" fmla="*/ 311588 w 393631"/>
                <a:gd name="connsiteY35" fmla="*/ 232857 h 448056"/>
                <a:gd name="connsiteX36" fmla="*/ 306587 w 393631"/>
                <a:gd name="connsiteY36" fmla="*/ 232353 h 448056"/>
                <a:gd name="connsiteX37" fmla="*/ 306020 w 393631"/>
                <a:gd name="connsiteY37" fmla="*/ 232034 h 448056"/>
                <a:gd name="connsiteX38" fmla="*/ 256407 w 393631"/>
                <a:gd name="connsiteY38" fmla="*/ 232034 h 448056"/>
                <a:gd name="connsiteX39" fmla="*/ 256407 w 393631"/>
                <a:gd name="connsiteY39" fmla="*/ 232034 h 448056"/>
                <a:gd name="connsiteX40" fmla="*/ 256407 w 393631"/>
                <a:gd name="connsiteY40" fmla="*/ 185664 h 448056"/>
                <a:gd name="connsiteX41" fmla="*/ 256224 w 393631"/>
                <a:gd name="connsiteY41" fmla="*/ 169895 h 448056"/>
                <a:gd name="connsiteX42" fmla="*/ 184780 w 393631"/>
                <a:gd name="connsiteY42" fmla="*/ 82923 h 448056"/>
                <a:gd name="connsiteX43" fmla="*/ 0 w 393631"/>
                <a:gd name="connsiteY43" fmla="*/ 0 h 448056"/>
                <a:gd name="connsiteX44" fmla="*/ 159659 w 393631"/>
                <a:gd name="connsiteY44" fmla="*/ 0 h 448056"/>
                <a:gd name="connsiteX45" fmla="*/ 159659 w 393631"/>
                <a:gd name="connsiteY45" fmla="*/ 49613 h 448056"/>
                <a:gd name="connsiteX46" fmla="*/ 159237 w 393631"/>
                <a:gd name="connsiteY46" fmla="*/ 49613 h 448056"/>
                <a:gd name="connsiteX47" fmla="*/ 159237 w 393631"/>
                <a:gd name="connsiteY47" fmla="*/ 110480 h 448056"/>
                <a:gd name="connsiteX48" fmla="*/ 109624 w 393631"/>
                <a:gd name="connsiteY48" fmla="*/ 110480 h 448056"/>
                <a:gd name="connsiteX49" fmla="*/ 109624 w 393631"/>
                <a:gd name="connsiteY49" fmla="*/ 49613 h 448056"/>
                <a:gd name="connsiteX50" fmla="*/ 49613 w 393631"/>
                <a:gd name="connsiteY50" fmla="*/ 49613 h 448056"/>
                <a:gd name="connsiteX51" fmla="*/ 49613 w 393631"/>
                <a:gd name="connsiteY51" fmla="*/ 281647 h 448056"/>
                <a:gd name="connsiteX52" fmla="*/ 84708 w 393631"/>
                <a:gd name="connsiteY52" fmla="*/ 281647 h 448056"/>
                <a:gd name="connsiteX53" fmla="*/ 84708 w 393631"/>
                <a:gd name="connsiteY53" fmla="*/ 331260 h 448056"/>
                <a:gd name="connsiteX54" fmla="*/ 49613 w 393631"/>
                <a:gd name="connsiteY54" fmla="*/ 331260 h 448056"/>
                <a:gd name="connsiteX55" fmla="*/ 49613 w 393631"/>
                <a:gd name="connsiteY55" fmla="*/ 331261 h 448056"/>
                <a:gd name="connsiteX56" fmla="*/ 0 w 393631"/>
                <a:gd name="connsiteY56" fmla="*/ 331261 h 448056"/>
                <a:gd name="connsiteX57" fmla="*/ 0 w 393631"/>
                <a:gd name="connsiteY57" fmla="*/ 49613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3631" h="448056">
                  <a:moveTo>
                    <a:pt x="109937" y="255147"/>
                  </a:moveTo>
                  <a:lnTo>
                    <a:pt x="159550" y="255147"/>
                  </a:lnTo>
                  <a:lnTo>
                    <a:pt x="159550" y="356612"/>
                  </a:lnTo>
                  <a:lnTo>
                    <a:pt x="193061" y="356612"/>
                  </a:lnTo>
                  <a:lnTo>
                    <a:pt x="134430" y="448056"/>
                  </a:lnTo>
                  <a:lnTo>
                    <a:pt x="75800" y="356612"/>
                  </a:lnTo>
                  <a:lnTo>
                    <a:pt x="109937" y="356612"/>
                  </a:lnTo>
                  <a:close/>
                  <a:moveTo>
                    <a:pt x="85131" y="207227"/>
                  </a:moveTo>
                  <a:lnTo>
                    <a:pt x="197505" y="207227"/>
                  </a:lnTo>
                  <a:lnTo>
                    <a:pt x="197505" y="233451"/>
                  </a:lnTo>
                  <a:lnTo>
                    <a:pt x="85131" y="233451"/>
                  </a:lnTo>
                  <a:close/>
                  <a:moveTo>
                    <a:pt x="85131" y="170997"/>
                  </a:moveTo>
                  <a:lnTo>
                    <a:pt x="197505" y="170997"/>
                  </a:lnTo>
                  <a:lnTo>
                    <a:pt x="197505" y="197220"/>
                  </a:lnTo>
                  <a:lnTo>
                    <a:pt x="85131" y="197220"/>
                  </a:lnTo>
                  <a:close/>
                  <a:moveTo>
                    <a:pt x="85131" y="134440"/>
                  </a:moveTo>
                  <a:lnTo>
                    <a:pt x="197505" y="134440"/>
                  </a:lnTo>
                  <a:lnTo>
                    <a:pt x="197505" y="160663"/>
                  </a:lnTo>
                  <a:lnTo>
                    <a:pt x="85131" y="160663"/>
                  </a:lnTo>
                  <a:close/>
                  <a:moveTo>
                    <a:pt x="184780" y="33581"/>
                  </a:moveTo>
                  <a:cubicBezTo>
                    <a:pt x="261578" y="34045"/>
                    <a:pt x="305265" y="121522"/>
                    <a:pt x="306050" y="165478"/>
                  </a:cubicBezTo>
                  <a:lnTo>
                    <a:pt x="306020" y="182421"/>
                  </a:lnTo>
                  <a:cubicBezTo>
                    <a:pt x="316588" y="182400"/>
                    <a:pt x="312726" y="182381"/>
                    <a:pt x="323294" y="182360"/>
                  </a:cubicBezTo>
                  <a:lnTo>
                    <a:pt x="323488" y="182529"/>
                  </a:lnTo>
                  <a:cubicBezTo>
                    <a:pt x="323620" y="182512"/>
                    <a:pt x="323752" y="182496"/>
                    <a:pt x="323884" y="182479"/>
                  </a:cubicBezTo>
                  <a:cubicBezTo>
                    <a:pt x="357589" y="182479"/>
                    <a:pt x="385710" y="206387"/>
                    <a:pt x="392213" y="238169"/>
                  </a:cubicBezTo>
                  <a:lnTo>
                    <a:pt x="393429" y="250233"/>
                  </a:lnTo>
                  <a:lnTo>
                    <a:pt x="393631" y="250276"/>
                  </a:lnTo>
                  <a:lnTo>
                    <a:pt x="393630" y="331260"/>
                  </a:lnTo>
                  <a:lnTo>
                    <a:pt x="344017" y="331260"/>
                  </a:lnTo>
                  <a:lnTo>
                    <a:pt x="184779" y="331260"/>
                  </a:lnTo>
                  <a:lnTo>
                    <a:pt x="184779" y="281647"/>
                  </a:lnTo>
                  <a:lnTo>
                    <a:pt x="343713" y="281647"/>
                  </a:lnTo>
                  <a:lnTo>
                    <a:pt x="343607" y="274792"/>
                  </a:lnTo>
                  <a:lnTo>
                    <a:pt x="343896" y="272497"/>
                  </a:lnTo>
                  <a:cubicBezTo>
                    <a:pt x="343896" y="252944"/>
                    <a:pt x="330026" y="236630"/>
                    <a:pt x="311588" y="232857"/>
                  </a:cubicBezTo>
                  <a:lnTo>
                    <a:pt x="306587" y="232353"/>
                  </a:lnTo>
                  <a:lnTo>
                    <a:pt x="306020" y="232034"/>
                  </a:lnTo>
                  <a:cubicBezTo>
                    <a:pt x="289483" y="232034"/>
                    <a:pt x="272945" y="232034"/>
                    <a:pt x="256407" y="232034"/>
                  </a:cubicBezTo>
                  <a:lnTo>
                    <a:pt x="256407" y="232034"/>
                  </a:lnTo>
                  <a:lnTo>
                    <a:pt x="256407" y="185664"/>
                  </a:lnTo>
                  <a:lnTo>
                    <a:pt x="256224" y="169895"/>
                  </a:lnTo>
                  <a:cubicBezTo>
                    <a:pt x="255813" y="119010"/>
                    <a:pt x="206943" y="83044"/>
                    <a:pt x="184780" y="82923"/>
                  </a:cubicBezTo>
                  <a:close/>
                  <a:moveTo>
                    <a:pt x="0" y="0"/>
                  </a:moveTo>
                  <a:lnTo>
                    <a:pt x="159659" y="0"/>
                  </a:lnTo>
                  <a:lnTo>
                    <a:pt x="159659" y="49613"/>
                  </a:lnTo>
                  <a:lnTo>
                    <a:pt x="159237" y="49613"/>
                  </a:lnTo>
                  <a:lnTo>
                    <a:pt x="159237" y="110480"/>
                  </a:lnTo>
                  <a:lnTo>
                    <a:pt x="109624" y="110480"/>
                  </a:lnTo>
                  <a:lnTo>
                    <a:pt x="109624" y="49613"/>
                  </a:lnTo>
                  <a:lnTo>
                    <a:pt x="49613" y="49613"/>
                  </a:lnTo>
                  <a:lnTo>
                    <a:pt x="49613" y="281647"/>
                  </a:lnTo>
                  <a:lnTo>
                    <a:pt x="84708" y="281647"/>
                  </a:lnTo>
                  <a:lnTo>
                    <a:pt x="84708" y="331260"/>
                  </a:lnTo>
                  <a:lnTo>
                    <a:pt x="49613" y="331260"/>
                  </a:lnTo>
                  <a:lnTo>
                    <a:pt x="49613" y="331261"/>
                  </a:lnTo>
                  <a:lnTo>
                    <a:pt x="0" y="331261"/>
                  </a:lnTo>
                  <a:lnTo>
                    <a:pt x="0" y="496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58" name="Traffic Manager Icon"/>
            <p:cNvSpPr>
              <a:spLocks noChangeAspect="1"/>
            </p:cNvSpPr>
            <p:nvPr/>
          </p:nvSpPr>
          <p:spPr>
            <a:xfrm>
              <a:off x="8567008" y="6101414"/>
              <a:ext cx="455008" cy="455008"/>
            </a:xfrm>
            <a:custGeom>
              <a:avLst/>
              <a:gdLst>
                <a:gd name="connsiteX0" fmla="*/ 619326 w 2114534"/>
                <a:gd name="connsiteY0" fmla="*/ 0 h 2114534"/>
                <a:gd name="connsiteX1" fmla="*/ 1495208 w 2114534"/>
                <a:gd name="connsiteY1" fmla="*/ 0 h 2114534"/>
                <a:gd name="connsiteX2" fmla="*/ 2114534 w 2114534"/>
                <a:gd name="connsiteY2" fmla="*/ 619326 h 2114534"/>
                <a:gd name="connsiteX3" fmla="*/ 2114534 w 2114534"/>
                <a:gd name="connsiteY3" fmla="*/ 1495208 h 2114534"/>
                <a:gd name="connsiteX4" fmla="*/ 2096995 w 2114534"/>
                <a:gd name="connsiteY4" fmla="*/ 1512747 h 2114534"/>
                <a:gd name="connsiteX5" fmla="*/ 1672823 w 2114534"/>
                <a:gd name="connsiteY5" fmla="*/ 1088575 h 2114534"/>
                <a:gd name="connsiteX6" fmla="*/ 1824272 w 2114534"/>
                <a:gd name="connsiteY6" fmla="*/ 937126 h 2114534"/>
                <a:gd name="connsiteX7" fmla="*/ 1345897 w 2114534"/>
                <a:gd name="connsiteY7" fmla="*/ 927641 h 2114534"/>
                <a:gd name="connsiteX8" fmla="*/ 1355382 w 2114534"/>
                <a:gd name="connsiteY8" fmla="*/ 1406016 h 2114534"/>
                <a:gd name="connsiteX9" fmla="*/ 1506831 w 2114534"/>
                <a:gd name="connsiteY9" fmla="*/ 1254567 h 2114534"/>
                <a:gd name="connsiteX10" fmla="*/ 1931003 w 2114534"/>
                <a:gd name="connsiteY10" fmla="*/ 1678739 h 2114534"/>
                <a:gd name="connsiteX11" fmla="*/ 1559272 w 2114534"/>
                <a:gd name="connsiteY11" fmla="*/ 2050471 h 2114534"/>
                <a:gd name="connsiteX12" fmla="*/ 920323 w 2114534"/>
                <a:gd name="connsiteY12" fmla="*/ 1411522 h 2114534"/>
                <a:gd name="connsiteX13" fmla="*/ 1026249 w 2114534"/>
                <a:gd name="connsiteY13" fmla="*/ 1305596 h 2114534"/>
                <a:gd name="connsiteX14" fmla="*/ 691664 w 2114534"/>
                <a:gd name="connsiteY14" fmla="*/ 1298962 h 2114534"/>
                <a:gd name="connsiteX15" fmla="*/ 698298 w 2114534"/>
                <a:gd name="connsiteY15" fmla="*/ 1633547 h 2114534"/>
                <a:gd name="connsiteX16" fmla="*/ 804224 w 2114534"/>
                <a:gd name="connsiteY16" fmla="*/ 1527621 h 2114534"/>
                <a:gd name="connsiteX17" fmla="*/ 1391138 w 2114534"/>
                <a:gd name="connsiteY17" fmla="*/ 2114534 h 2114534"/>
                <a:gd name="connsiteX18" fmla="*/ 619326 w 2114534"/>
                <a:gd name="connsiteY18" fmla="*/ 2114534 h 2114534"/>
                <a:gd name="connsiteX19" fmla="*/ 0 w 2114534"/>
                <a:gd name="connsiteY19" fmla="*/ 1495208 h 2114534"/>
                <a:gd name="connsiteX20" fmla="*/ 0 w 2114534"/>
                <a:gd name="connsiteY20" fmla="*/ 619326 h 2114534"/>
                <a:gd name="connsiteX21" fmla="*/ 215912 w 2114534"/>
                <a:gd name="connsiteY21" fmla="*/ 403415 h 2114534"/>
                <a:gd name="connsiteX22" fmla="*/ 707126 w 2114534"/>
                <a:gd name="connsiteY22" fmla="*/ 894629 h 2114534"/>
                <a:gd name="connsiteX23" fmla="*/ 482335 w 2114534"/>
                <a:gd name="connsiteY23" fmla="*/ 1119420 h 2114534"/>
                <a:gd name="connsiteX24" fmla="*/ 1192371 w 2114534"/>
                <a:gd name="connsiteY24" fmla="*/ 1133499 h 2114534"/>
                <a:gd name="connsiteX25" fmla="*/ 1178292 w 2114534"/>
                <a:gd name="connsiteY25" fmla="*/ 423462 h 2114534"/>
                <a:gd name="connsiteX26" fmla="*/ 953501 w 2114534"/>
                <a:gd name="connsiteY26" fmla="*/ 648253 h 2114534"/>
                <a:gd name="connsiteX27" fmla="*/ 462287 w 2114534"/>
                <a:gd name="connsiteY27" fmla="*/ 157039 h 211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14534" h="2114534">
                  <a:moveTo>
                    <a:pt x="619326" y="0"/>
                  </a:moveTo>
                  <a:lnTo>
                    <a:pt x="1495208" y="0"/>
                  </a:lnTo>
                  <a:lnTo>
                    <a:pt x="2114534" y="619326"/>
                  </a:lnTo>
                  <a:lnTo>
                    <a:pt x="2114534" y="1495208"/>
                  </a:lnTo>
                  <a:lnTo>
                    <a:pt x="2096995" y="1512747"/>
                  </a:lnTo>
                  <a:lnTo>
                    <a:pt x="1672823" y="1088575"/>
                  </a:lnTo>
                  <a:lnTo>
                    <a:pt x="1824272" y="937126"/>
                  </a:lnTo>
                  <a:lnTo>
                    <a:pt x="1345897" y="927641"/>
                  </a:lnTo>
                  <a:lnTo>
                    <a:pt x="1355382" y="1406016"/>
                  </a:lnTo>
                  <a:lnTo>
                    <a:pt x="1506831" y="1254567"/>
                  </a:lnTo>
                  <a:lnTo>
                    <a:pt x="1931003" y="1678739"/>
                  </a:lnTo>
                  <a:lnTo>
                    <a:pt x="1559272" y="2050471"/>
                  </a:lnTo>
                  <a:lnTo>
                    <a:pt x="920323" y="1411522"/>
                  </a:lnTo>
                  <a:lnTo>
                    <a:pt x="1026249" y="1305596"/>
                  </a:lnTo>
                  <a:lnTo>
                    <a:pt x="691664" y="1298962"/>
                  </a:lnTo>
                  <a:lnTo>
                    <a:pt x="698298" y="1633547"/>
                  </a:lnTo>
                  <a:lnTo>
                    <a:pt x="804224" y="1527621"/>
                  </a:lnTo>
                  <a:lnTo>
                    <a:pt x="1391138" y="2114534"/>
                  </a:lnTo>
                  <a:lnTo>
                    <a:pt x="619326" y="2114534"/>
                  </a:lnTo>
                  <a:lnTo>
                    <a:pt x="0" y="1495208"/>
                  </a:lnTo>
                  <a:lnTo>
                    <a:pt x="0" y="619326"/>
                  </a:lnTo>
                  <a:lnTo>
                    <a:pt x="215912" y="403415"/>
                  </a:lnTo>
                  <a:lnTo>
                    <a:pt x="707126" y="894629"/>
                  </a:lnTo>
                  <a:lnTo>
                    <a:pt x="482335" y="1119420"/>
                  </a:lnTo>
                  <a:lnTo>
                    <a:pt x="1192371" y="1133499"/>
                  </a:lnTo>
                  <a:lnTo>
                    <a:pt x="1178292" y="423462"/>
                  </a:lnTo>
                  <a:lnTo>
                    <a:pt x="953501" y="648253"/>
                  </a:lnTo>
                  <a:lnTo>
                    <a:pt x="462287" y="1570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59" name="HDInsight Icon"/>
            <p:cNvSpPr>
              <a:spLocks noChangeAspect="1"/>
            </p:cNvSpPr>
            <p:nvPr/>
          </p:nvSpPr>
          <p:spPr>
            <a:xfrm>
              <a:off x="11238724" y="6104636"/>
              <a:ext cx="439728" cy="448564"/>
            </a:xfrm>
            <a:custGeom>
              <a:avLst/>
              <a:gdLst>
                <a:gd name="connsiteX0" fmla="*/ 1588738 w 4072037"/>
                <a:gd name="connsiteY0" fmla="*/ 3292794 h 4153852"/>
                <a:gd name="connsiteX1" fmla="*/ 1933251 w 4072037"/>
                <a:gd name="connsiteY1" fmla="*/ 3292794 h 4153852"/>
                <a:gd name="connsiteX2" fmla="*/ 1933251 w 4072037"/>
                <a:gd name="connsiteY2" fmla="*/ 3526474 h 4153852"/>
                <a:gd name="connsiteX3" fmla="*/ 1588738 w 4072037"/>
                <a:gd name="connsiteY3" fmla="*/ 3526474 h 4153852"/>
                <a:gd name="connsiteX4" fmla="*/ 1038478 w 4072037"/>
                <a:gd name="connsiteY4" fmla="*/ 2835594 h 4153852"/>
                <a:gd name="connsiteX5" fmla="*/ 1365218 w 4072037"/>
                <a:gd name="connsiteY5" fmla="*/ 2835594 h 4153852"/>
                <a:gd name="connsiteX6" fmla="*/ 1365218 w 4072037"/>
                <a:gd name="connsiteY6" fmla="*/ 3069274 h 4153852"/>
                <a:gd name="connsiteX7" fmla="*/ 840634 w 4072037"/>
                <a:gd name="connsiteY7" fmla="*/ 3069274 h 4153852"/>
                <a:gd name="connsiteX8" fmla="*/ 2156771 w 4072037"/>
                <a:gd name="connsiteY8" fmla="*/ 2378394 h 4153852"/>
                <a:gd name="connsiteX9" fmla="*/ 2375211 w 4072037"/>
                <a:gd name="connsiteY9" fmla="*/ 2378394 h 4153852"/>
                <a:gd name="connsiteX10" fmla="*/ 2375211 w 4072037"/>
                <a:gd name="connsiteY10" fmla="*/ 3069274 h 4153852"/>
                <a:gd name="connsiteX11" fmla="*/ 2156771 w 4072037"/>
                <a:gd name="connsiteY11" fmla="*/ 3069274 h 4153852"/>
                <a:gd name="connsiteX12" fmla="*/ 1425564 w 4072037"/>
                <a:gd name="connsiteY12" fmla="*/ 2378394 h 4153852"/>
                <a:gd name="connsiteX13" fmla="*/ 1933251 w 4072037"/>
                <a:gd name="connsiteY13" fmla="*/ 2378394 h 4153852"/>
                <a:gd name="connsiteX14" fmla="*/ 1933251 w 4072037"/>
                <a:gd name="connsiteY14" fmla="*/ 3069274 h 4153852"/>
                <a:gd name="connsiteX15" fmla="*/ 1588738 w 4072037"/>
                <a:gd name="connsiteY15" fmla="*/ 3069274 h 4153852"/>
                <a:gd name="connsiteX16" fmla="*/ 1588738 w 4072037"/>
                <a:gd name="connsiteY16" fmla="*/ 2612074 h 4153852"/>
                <a:gd name="connsiteX17" fmla="*/ 1587811 w 4072037"/>
                <a:gd name="connsiteY17" fmla="*/ 2612074 h 4153852"/>
                <a:gd name="connsiteX18" fmla="*/ 1365218 w 4072037"/>
                <a:gd name="connsiteY18" fmla="*/ 2612074 h 4153852"/>
                <a:gd name="connsiteX19" fmla="*/ 1227720 w 4072037"/>
                <a:gd name="connsiteY19" fmla="*/ 2612074 h 4153852"/>
                <a:gd name="connsiteX20" fmla="*/ 3539294 w 4072037"/>
                <a:gd name="connsiteY20" fmla="*/ 1958529 h 4153852"/>
                <a:gd name="connsiteX21" fmla="*/ 4072037 w 4072037"/>
                <a:gd name="connsiteY21" fmla="*/ 2267521 h 4153852"/>
                <a:gd name="connsiteX22" fmla="*/ 3539294 w 4072037"/>
                <a:gd name="connsiteY22" fmla="*/ 2576512 h 4153852"/>
                <a:gd name="connsiteX23" fmla="*/ 3539294 w 4072037"/>
                <a:gd name="connsiteY23" fmla="*/ 2378963 h 4153852"/>
                <a:gd name="connsiteX24" fmla="*/ 3175311 w 4072037"/>
                <a:gd name="connsiteY24" fmla="*/ 2378963 h 4153852"/>
                <a:gd name="connsiteX25" fmla="*/ 3175311 w 4072037"/>
                <a:gd name="connsiteY25" fmla="*/ 3638862 h 4153852"/>
                <a:gd name="connsiteX26" fmla="*/ 3175311 w 4072037"/>
                <a:gd name="connsiteY26" fmla="*/ 3669236 h 4153852"/>
                <a:gd name="connsiteX27" fmla="*/ 3165871 w 4072037"/>
                <a:gd name="connsiteY27" fmla="*/ 3669236 h 4153852"/>
                <a:gd name="connsiteX28" fmla="*/ 1587656 w 4072037"/>
                <a:gd name="connsiteY28" fmla="*/ 4153852 h 4153852"/>
                <a:gd name="connsiteX29" fmla="*/ 9441 w 4072037"/>
                <a:gd name="connsiteY29" fmla="*/ 3669236 h 4153852"/>
                <a:gd name="connsiteX30" fmla="*/ 0 w 4072037"/>
                <a:gd name="connsiteY30" fmla="*/ 3669236 h 4153852"/>
                <a:gd name="connsiteX31" fmla="*/ 0 w 4072037"/>
                <a:gd name="connsiteY31" fmla="*/ 3638862 h 4153852"/>
                <a:gd name="connsiteX32" fmla="*/ 0 w 4072037"/>
                <a:gd name="connsiteY32" fmla="*/ 2835594 h 4153852"/>
                <a:gd name="connsiteX33" fmla="*/ 745607 w 4072037"/>
                <a:gd name="connsiteY33" fmla="*/ 2835594 h 4153852"/>
                <a:gd name="connsiteX34" fmla="*/ 564990 w 4072037"/>
                <a:gd name="connsiteY34" fmla="*/ 3048928 h 4153852"/>
                <a:gd name="connsiteX35" fmla="*/ 565533 w 4072037"/>
                <a:gd name="connsiteY35" fmla="*/ 3049388 h 4153852"/>
                <a:gd name="connsiteX36" fmla="*/ 358375 w 4072037"/>
                <a:gd name="connsiteY36" fmla="*/ 3294070 h 4153852"/>
                <a:gd name="connsiteX37" fmla="*/ 650312 w 4072037"/>
                <a:gd name="connsiteY37" fmla="*/ 3294070 h 4153852"/>
                <a:gd name="connsiteX38" fmla="*/ 651392 w 4072037"/>
                <a:gd name="connsiteY38" fmla="*/ 3292794 h 4153852"/>
                <a:gd name="connsiteX39" fmla="*/ 1365218 w 4072037"/>
                <a:gd name="connsiteY39" fmla="*/ 3292794 h 4153852"/>
                <a:gd name="connsiteX40" fmla="*/ 1365218 w 4072037"/>
                <a:gd name="connsiteY40" fmla="*/ 3526474 h 4153852"/>
                <a:gd name="connsiteX41" fmla="*/ 1361751 w 4072037"/>
                <a:gd name="connsiteY41" fmla="*/ 3526474 h 4153852"/>
                <a:gd name="connsiteX42" fmla="*/ 1361751 w 4072037"/>
                <a:gd name="connsiteY42" fmla="*/ 3749994 h 4153852"/>
                <a:gd name="connsiteX43" fmla="*/ 1365218 w 4072037"/>
                <a:gd name="connsiteY43" fmla="*/ 3749994 h 4153852"/>
                <a:gd name="connsiteX44" fmla="*/ 1588738 w 4072037"/>
                <a:gd name="connsiteY44" fmla="*/ 3749994 h 4153852"/>
                <a:gd name="connsiteX45" fmla="*/ 1933251 w 4072037"/>
                <a:gd name="connsiteY45" fmla="*/ 3749994 h 4153852"/>
                <a:gd name="connsiteX46" fmla="*/ 2156771 w 4072037"/>
                <a:gd name="connsiteY46" fmla="*/ 3749994 h 4153852"/>
                <a:gd name="connsiteX47" fmla="*/ 2156771 w 4072037"/>
                <a:gd name="connsiteY47" fmla="*/ 3526474 h 4153852"/>
                <a:gd name="connsiteX48" fmla="*/ 2156771 w 4072037"/>
                <a:gd name="connsiteY48" fmla="*/ 3292794 h 4153852"/>
                <a:gd name="connsiteX49" fmla="*/ 2375211 w 4072037"/>
                <a:gd name="connsiteY49" fmla="*/ 3292794 h 4153852"/>
                <a:gd name="connsiteX50" fmla="*/ 2598731 w 4072037"/>
                <a:gd name="connsiteY50" fmla="*/ 3292794 h 4153852"/>
                <a:gd name="connsiteX51" fmla="*/ 2598731 w 4072037"/>
                <a:gd name="connsiteY51" fmla="*/ 3069274 h 4153852"/>
                <a:gd name="connsiteX52" fmla="*/ 2598731 w 4072037"/>
                <a:gd name="connsiteY52" fmla="*/ 2378394 h 4153852"/>
                <a:gd name="connsiteX53" fmla="*/ 3175311 w 4072037"/>
                <a:gd name="connsiteY53" fmla="*/ 2378394 h 4153852"/>
                <a:gd name="connsiteX54" fmla="*/ 3175311 w 4072037"/>
                <a:gd name="connsiteY54" fmla="*/ 2156077 h 4153852"/>
                <a:gd name="connsiteX55" fmla="*/ 3539294 w 4072037"/>
                <a:gd name="connsiteY55" fmla="*/ 2156077 h 4153852"/>
                <a:gd name="connsiteX56" fmla="*/ 1933251 w 4072037"/>
                <a:gd name="connsiteY56" fmla="*/ 1778749 h 4153852"/>
                <a:gd name="connsiteX57" fmla="*/ 1933251 w 4072037"/>
                <a:gd name="connsiteY57" fmla="*/ 2154874 h 4153852"/>
                <a:gd name="connsiteX58" fmla="*/ 1614806 w 4072037"/>
                <a:gd name="connsiteY58" fmla="*/ 2154874 h 4153852"/>
                <a:gd name="connsiteX59" fmla="*/ 2156771 w 4072037"/>
                <a:gd name="connsiteY59" fmla="*/ 1776416 h 4153852"/>
                <a:gd name="connsiteX60" fmla="*/ 2375211 w 4072037"/>
                <a:gd name="connsiteY60" fmla="*/ 1776416 h 4153852"/>
                <a:gd name="connsiteX61" fmla="*/ 2375211 w 4072037"/>
                <a:gd name="connsiteY61" fmla="*/ 2154874 h 4153852"/>
                <a:gd name="connsiteX62" fmla="*/ 2156771 w 4072037"/>
                <a:gd name="connsiteY62" fmla="*/ 2154874 h 4153852"/>
                <a:gd name="connsiteX63" fmla="*/ 719131 w 4072037"/>
                <a:gd name="connsiteY63" fmla="*/ 1776416 h 4153852"/>
                <a:gd name="connsiteX64" fmla="*/ 1642355 w 4072037"/>
                <a:gd name="connsiteY64" fmla="*/ 1776416 h 4153852"/>
                <a:gd name="connsiteX65" fmla="*/ 1321935 w 4072037"/>
                <a:gd name="connsiteY65" fmla="*/ 2154874 h 4153852"/>
                <a:gd name="connsiteX66" fmla="*/ 719131 w 4072037"/>
                <a:gd name="connsiteY66" fmla="*/ 2154874 h 4153852"/>
                <a:gd name="connsiteX67" fmla="*/ 1587656 w 4072037"/>
                <a:gd name="connsiteY67" fmla="*/ 203080 h 4153852"/>
                <a:gd name="connsiteX68" fmla="*/ 445989 w 4072037"/>
                <a:gd name="connsiteY68" fmla="*/ 573403 h 4153852"/>
                <a:gd name="connsiteX69" fmla="*/ 1587656 w 4072037"/>
                <a:gd name="connsiteY69" fmla="*/ 943727 h 4153852"/>
                <a:gd name="connsiteX70" fmla="*/ 2729323 w 4072037"/>
                <a:gd name="connsiteY70" fmla="*/ 573403 h 4153852"/>
                <a:gd name="connsiteX71" fmla="*/ 1587656 w 4072037"/>
                <a:gd name="connsiteY71" fmla="*/ 203080 h 4153852"/>
                <a:gd name="connsiteX72" fmla="*/ 1587656 w 4072037"/>
                <a:gd name="connsiteY72" fmla="*/ 0 h 4153852"/>
                <a:gd name="connsiteX73" fmla="*/ 3175311 w 4072037"/>
                <a:gd name="connsiteY73" fmla="*/ 514990 h 4153852"/>
                <a:gd name="connsiteX74" fmla="*/ 3175311 w 4072037"/>
                <a:gd name="connsiteY74" fmla="*/ 2154874 h 4153852"/>
                <a:gd name="connsiteX75" fmla="*/ 2598731 w 4072037"/>
                <a:gd name="connsiteY75" fmla="*/ 2154874 h 4153852"/>
                <a:gd name="connsiteX76" fmla="*/ 2598731 w 4072037"/>
                <a:gd name="connsiteY76" fmla="*/ 1776416 h 4153852"/>
                <a:gd name="connsiteX77" fmla="*/ 2598731 w 4072037"/>
                <a:gd name="connsiteY77" fmla="*/ 1552896 h 4153852"/>
                <a:gd name="connsiteX78" fmla="*/ 2375211 w 4072037"/>
                <a:gd name="connsiteY78" fmla="*/ 1552896 h 4153852"/>
                <a:gd name="connsiteX79" fmla="*/ 2156771 w 4072037"/>
                <a:gd name="connsiteY79" fmla="*/ 1552896 h 4153852"/>
                <a:gd name="connsiteX80" fmla="*/ 2156771 w 4072037"/>
                <a:gd name="connsiteY80" fmla="*/ 1514742 h 4153852"/>
                <a:gd name="connsiteX81" fmla="*/ 2157289 w 4072037"/>
                <a:gd name="connsiteY81" fmla="*/ 1514130 h 4153852"/>
                <a:gd name="connsiteX82" fmla="*/ 2157289 w 4072037"/>
                <a:gd name="connsiteY82" fmla="*/ 1168211 h 4153852"/>
                <a:gd name="connsiteX83" fmla="*/ 2156323 w 4072037"/>
                <a:gd name="connsiteY83" fmla="*/ 1169352 h 4153852"/>
                <a:gd name="connsiteX84" fmla="*/ 2156321 w 4072037"/>
                <a:gd name="connsiteY84" fmla="*/ 1169352 h 4153852"/>
                <a:gd name="connsiteX85" fmla="*/ 1933251 w 4072037"/>
                <a:gd name="connsiteY85" fmla="*/ 1432826 h 4153852"/>
                <a:gd name="connsiteX86" fmla="*/ 1933251 w 4072037"/>
                <a:gd name="connsiteY86" fmla="*/ 1432829 h 4153852"/>
                <a:gd name="connsiteX87" fmla="*/ 1831597 w 4072037"/>
                <a:gd name="connsiteY87" fmla="*/ 1552896 h 4153852"/>
                <a:gd name="connsiteX88" fmla="*/ 719131 w 4072037"/>
                <a:gd name="connsiteY88" fmla="*/ 1552896 h 4153852"/>
                <a:gd name="connsiteX89" fmla="*/ 495611 w 4072037"/>
                <a:gd name="connsiteY89" fmla="*/ 1552896 h 4153852"/>
                <a:gd name="connsiteX90" fmla="*/ 495611 w 4072037"/>
                <a:gd name="connsiteY90" fmla="*/ 1776416 h 4153852"/>
                <a:gd name="connsiteX91" fmla="*/ 495611 w 4072037"/>
                <a:gd name="connsiteY91" fmla="*/ 2154874 h 4153852"/>
                <a:gd name="connsiteX92" fmla="*/ 495611 w 4072037"/>
                <a:gd name="connsiteY92" fmla="*/ 2378394 h 4153852"/>
                <a:gd name="connsiteX93" fmla="*/ 719131 w 4072037"/>
                <a:gd name="connsiteY93" fmla="*/ 2378394 h 4153852"/>
                <a:gd name="connsiteX94" fmla="*/ 1132693 w 4072037"/>
                <a:gd name="connsiteY94" fmla="*/ 2378394 h 4153852"/>
                <a:gd name="connsiteX95" fmla="*/ 934849 w 4072037"/>
                <a:gd name="connsiteY95" fmla="*/ 2612074 h 4153852"/>
                <a:gd name="connsiteX96" fmla="*/ 0 w 4072037"/>
                <a:gd name="connsiteY96" fmla="*/ 2612074 h 4153852"/>
                <a:gd name="connsiteX97" fmla="*/ 0 w 4072037"/>
                <a:gd name="connsiteY97" fmla="*/ 514990 h 4153852"/>
                <a:gd name="connsiteX98" fmla="*/ 1587656 w 4072037"/>
                <a:gd name="connsiteY98" fmla="*/ 0 h 415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4072037" h="4153852">
                  <a:moveTo>
                    <a:pt x="1588738" y="3292794"/>
                  </a:moveTo>
                  <a:lnTo>
                    <a:pt x="1933251" y="3292794"/>
                  </a:lnTo>
                  <a:lnTo>
                    <a:pt x="1933251" y="3526474"/>
                  </a:lnTo>
                  <a:lnTo>
                    <a:pt x="1588738" y="3526474"/>
                  </a:lnTo>
                  <a:close/>
                  <a:moveTo>
                    <a:pt x="1038478" y="2835594"/>
                  </a:moveTo>
                  <a:lnTo>
                    <a:pt x="1365218" y="2835594"/>
                  </a:lnTo>
                  <a:lnTo>
                    <a:pt x="1365218" y="3069274"/>
                  </a:lnTo>
                  <a:lnTo>
                    <a:pt x="840634" y="3069274"/>
                  </a:lnTo>
                  <a:close/>
                  <a:moveTo>
                    <a:pt x="2156771" y="2378394"/>
                  </a:moveTo>
                  <a:lnTo>
                    <a:pt x="2375211" y="2378394"/>
                  </a:lnTo>
                  <a:lnTo>
                    <a:pt x="2375211" y="3069274"/>
                  </a:lnTo>
                  <a:lnTo>
                    <a:pt x="2156771" y="3069274"/>
                  </a:lnTo>
                  <a:close/>
                  <a:moveTo>
                    <a:pt x="1425564" y="2378394"/>
                  </a:moveTo>
                  <a:lnTo>
                    <a:pt x="1933251" y="2378394"/>
                  </a:lnTo>
                  <a:lnTo>
                    <a:pt x="1933251" y="3069274"/>
                  </a:lnTo>
                  <a:lnTo>
                    <a:pt x="1588738" y="3069274"/>
                  </a:lnTo>
                  <a:lnTo>
                    <a:pt x="1588738" y="2612074"/>
                  </a:lnTo>
                  <a:lnTo>
                    <a:pt x="1587811" y="2612074"/>
                  </a:lnTo>
                  <a:lnTo>
                    <a:pt x="1365218" y="2612074"/>
                  </a:lnTo>
                  <a:lnTo>
                    <a:pt x="1227720" y="2612074"/>
                  </a:lnTo>
                  <a:close/>
                  <a:moveTo>
                    <a:pt x="3539294" y="1958529"/>
                  </a:moveTo>
                  <a:lnTo>
                    <a:pt x="4072037" y="2267521"/>
                  </a:lnTo>
                  <a:lnTo>
                    <a:pt x="3539294" y="2576512"/>
                  </a:lnTo>
                  <a:lnTo>
                    <a:pt x="3539294" y="2378963"/>
                  </a:lnTo>
                  <a:lnTo>
                    <a:pt x="3175311" y="2378963"/>
                  </a:lnTo>
                  <a:lnTo>
                    <a:pt x="3175311" y="3638862"/>
                  </a:lnTo>
                  <a:lnTo>
                    <a:pt x="3175311" y="3669236"/>
                  </a:lnTo>
                  <a:lnTo>
                    <a:pt x="3165871" y="3669236"/>
                  </a:lnTo>
                  <a:cubicBezTo>
                    <a:pt x="3122109" y="3940150"/>
                    <a:pt x="2431821" y="4153852"/>
                    <a:pt x="1587656" y="4153852"/>
                  </a:cubicBezTo>
                  <a:cubicBezTo>
                    <a:pt x="743490" y="4153852"/>
                    <a:pt x="53206" y="3940150"/>
                    <a:pt x="9441" y="3669236"/>
                  </a:cubicBezTo>
                  <a:lnTo>
                    <a:pt x="0" y="3669236"/>
                  </a:lnTo>
                  <a:lnTo>
                    <a:pt x="0" y="3638862"/>
                  </a:lnTo>
                  <a:lnTo>
                    <a:pt x="0" y="2835594"/>
                  </a:lnTo>
                  <a:lnTo>
                    <a:pt x="745607" y="2835594"/>
                  </a:lnTo>
                  <a:lnTo>
                    <a:pt x="564990" y="3048928"/>
                  </a:lnTo>
                  <a:lnTo>
                    <a:pt x="565533" y="3049388"/>
                  </a:lnTo>
                  <a:lnTo>
                    <a:pt x="358375" y="3294070"/>
                  </a:lnTo>
                  <a:lnTo>
                    <a:pt x="650312" y="3294070"/>
                  </a:lnTo>
                  <a:lnTo>
                    <a:pt x="651392" y="3292794"/>
                  </a:lnTo>
                  <a:lnTo>
                    <a:pt x="1365218" y="3292794"/>
                  </a:lnTo>
                  <a:lnTo>
                    <a:pt x="1365218" y="3526474"/>
                  </a:lnTo>
                  <a:lnTo>
                    <a:pt x="1361751" y="3526474"/>
                  </a:lnTo>
                  <a:lnTo>
                    <a:pt x="1361751" y="3749994"/>
                  </a:lnTo>
                  <a:lnTo>
                    <a:pt x="1365218" y="3749994"/>
                  </a:lnTo>
                  <a:lnTo>
                    <a:pt x="1588738" y="3749994"/>
                  </a:lnTo>
                  <a:lnTo>
                    <a:pt x="1933251" y="3749994"/>
                  </a:lnTo>
                  <a:lnTo>
                    <a:pt x="2156771" y="3749994"/>
                  </a:lnTo>
                  <a:lnTo>
                    <a:pt x="2156771" y="3526474"/>
                  </a:lnTo>
                  <a:lnTo>
                    <a:pt x="2156771" y="3292794"/>
                  </a:lnTo>
                  <a:lnTo>
                    <a:pt x="2375211" y="3292794"/>
                  </a:lnTo>
                  <a:lnTo>
                    <a:pt x="2598731" y="3292794"/>
                  </a:lnTo>
                  <a:lnTo>
                    <a:pt x="2598731" y="3069274"/>
                  </a:lnTo>
                  <a:lnTo>
                    <a:pt x="2598731" y="2378394"/>
                  </a:lnTo>
                  <a:lnTo>
                    <a:pt x="3175311" y="2378394"/>
                  </a:lnTo>
                  <a:lnTo>
                    <a:pt x="3175311" y="2156077"/>
                  </a:lnTo>
                  <a:lnTo>
                    <a:pt x="3539294" y="2156077"/>
                  </a:lnTo>
                  <a:close/>
                  <a:moveTo>
                    <a:pt x="1933251" y="1778749"/>
                  </a:moveTo>
                  <a:lnTo>
                    <a:pt x="1933251" y="2154874"/>
                  </a:lnTo>
                  <a:lnTo>
                    <a:pt x="1614806" y="2154874"/>
                  </a:lnTo>
                  <a:close/>
                  <a:moveTo>
                    <a:pt x="2156771" y="1776416"/>
                  </a:moveTo>
                  <a:lnTo>
                    <a:pt x="2375211" y="1776416"/>
                  </a:lnTo>
                  <a:lnTo>
                    <a:pt x="2375211" y="2154874"/>
                  </a:lnTo>
                  <a:lnTo>
                    <a:pt x="2156771" y="2154874"/>
                  </a:lnTo>
                  <a:close/>
                  <a:moveTo>
                    <a:pt x="719131" y="1776416"/>
                  </a:moveTo>
                  <a:lnTo>
                    <a:pt x="1642355" y="1776416"/>
                  </a:lnTo>
                  <a:lnTo>
                    <a:pt x="1321935" y="2154874"/>
                  </a:lnTo>
                  <a:lnTo>
                    <a:pt x="719131" y="2154874"/>
                  </a:lnTo>
                  <a:close/>
                  <a:moveTo>
                    <a:pt x="1587656" y="203080"/>
                  </a:moveTo>
                  <a:cubicBezTo>
                    <a:pt x="957130" y="203080"/>
                    <a:pt x="445989" y="368879"/>
                    <a:pt x="445989" y="573403"/>
                  </a:cubicBezTo>
                  <a:cubicBezTo>
                    <a:pt x="445989" y="777928"/>
                    <a:pt x="957130" y="943727"/>
                    <a:pt x="1587656" y="943727"/>
                  </a:cubicBezTo>
                  <a:cubicBezTo>
                    <a:pt x="2218182" y="943727"/>
                    <a:pt x="2729323" y="777928"/>
                    <a:pt x="2729323" y="573403"/>
                  </a:cubicBezTo>
                  <a:cubicBezTo>
                    <a:pt x="2729323" y="368879"/>
                    <a:pt x="2218182" y="203080"/>
                    <a:pt x="1587656" y="203080"/>
                  </a:cubicBezTo>
                  <a:close/>
                  <a:moveTo>
                    <a:pt x="1587656" y="0"/>
                  </a:moveTo>
                  <a:cubicBezTo>
                    <a:pt x="2464494" y="0"/>
                    <a:pt x="3175311" y="230568"/>
                    <a:pt x="3175311" y="514990"/>
                  </a:cubicBezTo>
                  <a:lnTo>
                    <a:pt x="3175311" y="2154874"/>
                  </a:lnTo>
                  <a:lnTo>
                    <a:pt x="2598731" y="2154874"/>
                  </a:lnTo>
                  <a:lnTo>
                    <a:pt x="2598731" y="1776416"/>
                  </a:lnTo>
                  <a:lnTo>
                    <a:pt x="2598731" y="1552896"/>
                  </a:lnTo>
                  <a:lnTo>
                    <a:pt x="2375211" y="1552896"/>
                  </a:lnTo>
                  <a:lnTo>
                    <a:pt x="2156771" y="1552896"/>
                  </a:lnTo>
                  <a:lnTo>
                    <a:pt x="2156771" y="1514742"/>
                  </a:lnTo>
                  <a:lnTo>
                    <a:pt x="2157289" y="1514130"/>
                  </a:lnTo>
                  <a:lnTo>
                    <a:pt x="2157289" y="1168211"/>
                  </a:lnTo>
                  <a:lnTo>
                    <a:pt x="2156323" y="1169352"/>
                  </a:lnTo>
                  <a:lnTo>
                    <a:pt x="2156321" y="1169352"/>
                  </a:lnTo>
                  <a:lnTo>
                    <a:pt x="1933251" y="1432826"/>
                  </a:lnTo>
                  <a:lnTo>
                    <a:pt x="1933251" y="1432829"/>
                  </a:lnTo>
                  <a:lnTo>
                    <a:pt x="1831597" y="1552896"/>
                  </a:lnTo>
                  <a:lnTo>
                    <a:pt x="719131" y="1552896"/>
                  </a:lnTo>
                  <a:lnTo>
                    <a:pt x="495611" y="1552896"/>
                  </a:lnTo>
                  <a:lnTo>
                    <a:pt x="495611" y="1776416"/>
                  </a:lnTo>
                  <a:lnTo>
                    <a:pt x="495611" y="2154874"/>
                  </a:lnTo>
                  <a:lnTo>
                    <a:pt x="495611" y="2378394"/>
                  </a:lnTo>
                  <a:lnTo>
                    <a:pt x="719131" y="2378394"/>
                  </a:lnTo>
                  <a:lnTo>
                    <a:pt x="1132693" y="2378394"/>
                  </a:lnTo>
                  <a:lnTo>
                    <a:pt x="934849" y="2612074"/>
                  </a:lnTo>
                  <a:lnTo>
                    <a:pt x="0" y="2612074"/>
                  </a:lnTo>
                  <a:lnTo>
                    <a:pt x="0" y="514990"/>
                  </a:lnTo>
                  <a:cubicBezTo>
                    <a:pt x="0" y="230568"/>
                    <a:pt x="710817" y="0"/>
                    <a:pt x="158765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60" name="Networks Icon"/>
            <p:cNvSpPr>
              <a:spLocks noChangeAspect="1"/>
            </p:cNvSpPr>
            <p:nvPr/>
          </p:nvSpPr>
          <p:spPr>
            <a:xfrm>
              <a:off x="7847352" y="6187112"/>
              <a:ext cx="510254" cy="283612"/>
            </a:xfrm>
            <a:custGeom>
              <a:avLst/>
              <a:gdLst>
                <a:gd name="connsiteX0" fmla="*/ 1744898 w 2580805"/>
                <a:gd name="connsiteY0" fmla="*/ 547589 h 1434470"/>
                <a:gd name="connsiteX1" fmla="*/ 1914544 w 2580805"/>
                <a:gd name="connsiteY1" fmla="*/ 717233 h 1434470"/>
                <a:gd name="connsiteX2" fmla="*/ 1744898 w 2580805"/>
                <a:gd name="connsiteY2" fmla="*/ 886877 h 1434470"/>
                <a:gd name="connsiteX3" fmla="*/ 1575253 w 2580805"/>
                <a:gd name="connsiteY3" fmla="*/ 717233 h 1434470"/>
                <a:gd name="connsiteX4" fmla="*/ 1744898 w 2580805"/>
                <a:gd name="connsiteY4" fmla="*/ 547589 h 1434470"/>
                <a:gd name="connsiteX5" fmla="*/ 1290403 w 2580805"/>
                <a:gd name="connsiteY5" fmla="*/ 547589 h 1434470"/>
                <a:gd name="connsiteX6" fmla="*/ 1460047 w 2580805"/>
                <a:gd name="connsiteY6" fmla="*/ 717233 h 1434470"/>
                <a:gd name="connsiteX7" fmla="*/ 1290403 w 2580805"/>
                <a:gd name="connsiteY7" fmla="*/ 886877 h 1434470"/>
                <a:gd name="connsiteX8" fmla="*/ 1120757 w 2580805"/>
                <a:gd name="connsiteY8" fmla="*/ 717233 h 1434470"/>
                <a:gd name="connsiteX9" fmla="*/ 1290403 w 2580805"/>
                <a:gd name="connsiteY9" fmla="*/ 547589 h 1434470"/>
                <a:gd name="connsiteX10" fmla="*/ 835907 w 2580805"/>
                <a:gd name="connsiteY10" fmla="*/ 547589 h 1434470"/>
                <a:gd name="connsiteX11" fmla="*/ 1005551 w 2580805"/>
                <a:gd name="connsiteY11" fmla="*/ 717233 h 1434470"/>
                <a:gd name="connsiteX12" fmla="*/ 835906 w 2580805"/>
                <a:gd name="connsiteY12" fmla="*/ 886877 h 1434470"/>
                <a:gd name="connsiteX13" fmla="*/ 666261 w 2580805"/>
                <a:gd name="connsiteY13" fmla="*/ 717233 h 1434470"/>
                <a:gd name="connsiteX14" fmla="*/ 835907 w 2580805"/>
                <a:gd name="connsiteY14" fmla="*/ 547589 h 1434470"/>
                <a:gd name="connsiteX15" fmla="*/ 1863569 w 2580805"/>
                <a:gd name="connsiteY15" fmla="*/ 5 h 1434470"/>
                <a:gd name="connsiteX16" fmla="*/ 2580805 w 2580805"/>
                <a:gd name="connsiteY16" fmla="*/ 717241 h 1434470"/>
                <a:gd name="connsiteX17" fmla="*/ 1863576 w 2580805"/>
                <a:gd name="connsiteY17" fmla="*/ 1434470 h 1434470"/>
                <a:gd name="connsiteX18" fmla="*/ 1756750 w 2580805"/>
                <a:gd name="connsiteY18" fmla="*/ 1327645 h 1434470"/>
                <a:gd name="connsiteX19" fmla="*/ 2367165 w 2580805"/>
                <a:gd name="connsiteY19" fmla="*/ 717230 h 1434470"/>
                <a:gd name="connsiteX20" fmla="*/ 1756754 w 2580805"/>
                <a:gd name="connsiteY20" fmla="*/ 106819 h 1434470"/>
                <a:gd name="connsiteX21" fmla="*/ 717236 w 2580805"/>
                <a:gd name="connsiteY21" fmla="*/ 0 h 1434470"/>
                <a:gd name="connsiteX22" fmla="*/ 824051 w 2580805"/>
                <a:gd name="connsiteY22" fmla="*/ 106815 h 1434470"/>
                <a:gd name="connsiteX23" fmla="*/ 213640 w 2580805"/>
                <a:gd name="connsiteY23" fmla="*/ 717226 h 1434470"/>
                <a:gd name="connsiteX24" fmla="*/ 824054 w 2580805"/>
                <a:gd name="connsiteY24" fmla="*/ 1327640 h 1434470"/>
                <a:gd name="connsiteX25" fmla="*/ 717229 w 2580805"/>
                <a:gd name="connsiteY25" fmla="*/ 1434465 h 1434470"/>
                <a:gd name="connsiteX26" fmla="*/ 0 w 2580805"/>
                <a:gd name="connsiteY26" fmla="*/ 717236 h 1434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80805" h="1434470">
                  <a:moveTo>
                    <a:pt x="1744898" y="547589"/>
                  </a:moveTo>
                  <a:cubicBezTo>
                    <a:pt x="1838590" y="547589"/>
                    <a:pt x="1914543" y="623541"/>
                    <a:pt x="1914544" y="717233"/>
                  </a:cubicBezTo>
                  <a:cubicBezTo>
                    <a:pt x="1914543" y="810926"/>
                    <a:pt x="1838590" y="886877"/>
                    <a:pt x="1744898" y="886877"/>
                  </a:cubicBezTo>
                  <a:cubicBezTo>
                    <a:pt x="1651207" y="886877"/>
                    <a:pt x="1575253" y="810925"/>
                    <a:pt x="1575253" y="717233"/>
                  </a:cubicBezTo>
                  <a:cubicBezTo>
                    <a:pt x="1575253" y="623541"/>
                    <a:pt x="1651207" y="547589"/>
                    <a:pt x="1744898" y="547589"/>
                  </a:cubicBezTo>
                  <a:close/>
                  <a:moveTo>
                    <a:pt x="1290403" y="547589"/>
                  </a:moveTo>
                  <a:cubicBezTo>
                    <a:pt x="1384094" y="547589"/>
                    <a:pt x="1460047" y="623541"/>
                    <a:pt x="1460047" y="717233"/>
                  </a:cubicBezTo>
                  <a:cubicBezTo>
                    <a:pt x="1460047" y="810926"/>
                    <a:pt x="1384094" y="886877"/>
                    <a:pt x="1290403" y="886877"/>
                  </a:cubicBezTo>
                  <a:cubicBezTo>
                    <a:pt x="1196710" y="886877"/>
                    <a:pt x="1120757" y="810925"/>
                    <a:pt x="1120757" y="717233"/>
                  </a:cubicBezTo>
                  <a:cubicBezTo>
                    <a:pt x="1120757" y="623542"/>
                    <a:pt x="1196710" y="547589"/>
                    <a:pt x="1290403" y="547589"/>
                  </a:cubicBezTo>
                  <a:close/>
                  <a:moveTo>
                    <a:pt x="835907" y="547589"/>
                  </a:moveTo>
                  <a:cubicBezTo>
                    <a:pt x="929599" y="547589"/>
                    <a:pt x="1005552" y="623541"/>
                    <a:pt x="1005551" y="717233"/>
                  </a:cubicBezTo>
                  <a:cubicBezTo>
                    <a:pt x="1005551" y="810925"/>
                    <a:pt x="929599" y="886877"/>
                    <a:pt x="835906" y="886877"/>
                  </a:cubicBezTo>
                  <a:cubicBezTo>
                    <a:pt x="742214" y="886877"/>
                    <a:pt x="666261" y="810925"/>
                    <a:pt x="666261" y="717233"/>
                  </a:cubicBezTo>
                  <a:cubicBezTo>
                    <a:pt x="666261" y="623542"/>
                    <a:pt x="742214" y="547589"/>
                    <a:pt x="835907" y="547589"/>
                  </a:cubicBezTo>
                  <a:close/>
                  <a:moveTo>
                    <a:pt x="1863569" y="5"/>
                  </a:moveTo>
                  <a:lnTo>
                    <a:pt x="2580805" y="717241"/>
                  </a:lnTo>
                  <a:lnTo>
                    <a:pt x="1863576" y="1434470"/>
                  </a:lnTo>
                  <a:lnTo>
                    <a:pt x="1756750" y="1327645"/>
                  </a:lnTo>
                  <a:lnTo>
                    <a:pt x="2367165" y="717230"/>
                  </a:lnTo>
                  <a:lnTo>
                    <a:pt x="1756754" y="106819"/>
                  </a:lnTo>
                  <a:close/>
                  <a:moveTo>
                    <a:pt x="717236" y="0"/>
                  </a:moveTo>
                  <a:lnTo>
                    <a:pt x="824051" y="106815"/>
                  </a:lnTo>
                  <a:lnTo>
                    <a:pt x="213640" y="717226"/>
                  </a:lnTo>
                  <a:lnTo>
                    <a:pt x="824054" y="1327640"/>
                  </a:lnTo>
                  <a:lnTo>
                    <a:pt x="717229" y="1434465"/>
                  </a:lnTo>
                  <a:lnTo>
                    <a:pt x="0" y="71723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spTree>
    <p:extLst>
      <p:ext uri="{BB962C8B-B14F-4D97-AF65-F5344CB8AC3E}">
        <p14:creationId xmlns:p14="http://schemas.microsoft.com/office/powerpoint/2010/main" val="3430242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6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6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6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8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6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9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6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66"/>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67"/>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3" grpId="0" animBg="1"/>
      <p:bldP spid="11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b Roles</a:t>
            </a:r>
            <a:endParaRPr lang="en-US" dirty="0"/>
          </a:p>
        </p:txBody>
      </p:sp>
      <p:sp>
        <p:nvSpPr>
          <p:cNvPr id="3" name="Content Placeholder 2"/>
          <p:cNvSpPr>
            <a:spLocks noGrp="1"/>
          </p:cNvSpPr>
          <p:nvPr>
            <p:ph sz="quarter" idx="10"/>
          </p:nvPr>
        </p:nvSpPr>
        <p:spPr>
          <a:xfrm>
            <a:off x="3054927" y="1388226"/>
            <a:ext cx="8849736" cy="5290388"/>
          </a:xfrm>
        </p:spPr>
        <p:txBody>
          <a:bodyPr/>
          <a:lstStyle/>
          <a:p>
            <a:r>
              <a:rPr lang="en-US" dirty="0" smtClean="0"/>
              <a:t>Pre-configured Windows Server</a:t>
            </a:r>
          </a:p>
          <a:p>
            <a:r>
              <a:rPr lang="en-US" dirty="0" smtClean="0"/>
              <a:t>IIS Pre-Installed </a:t>
            </a:r>
          </a:p>
          <a:p>
            <a:r>
              <a:rPr lang="en-US" dirty="0" smtClean="0"/>
              <a:t>Firewall open for port 80</a:t>
            </a:r>
          </a:p>
          <a:p>
            <a:r>
              <a:rPr lang="en-US" dirty="0" smtClean="0"/>
              <a:t>Default Endpoint for port 80</a:t>
            </a:r>
          </a:p>
          <a:p>
            <a:r>
              <a:rPr lang="en-US" dirty="0" smtClean="0"/>
              <a:t>You can run pretty much any IIS workload on it</a:t>
            </a:r>
          </a:p>
          <a:p>
            <a:r>
              <a:rPr lang="en-US" dirty="0" smtClean="0"/>
              <a:t>Customizable with startup scripts</a:t>
            </a:r>
          </a:p>
          <a:p>
            <a:r>
              <a:rPr lang="en-US" dirty="0" smtClean="0"/>
              <a:t>Run hybrid workloads with </a:t>
            </a:r>
            <a:r>
              <a:rPr lang="en-US" dirty="0" err="1" smtClean="0">
                <a:latin typeface="Consolas" panose="020B0609020204030204" pitchFamily="49" charset="0"/>
                <a:cs typeface="Consolas" panose="020B0609020204030204" pitchFamily="49" charset="0"/>
              </a:rPr>
              <a:t>WebRole.cs</a:t>
            </a:r>
            <a:endParaRPr lang="en-US" dirty="0" smtClean="0">
              <a:latin typeface="Consolas" panose="020B0609020204030204" pitchFamily="49" charset="0"/>
              <a:cs typeface="Consolas" panose="020B0609020204030204" pitchFamily="49" charset="0"/>
            </a:endParaRPr>
          </a:p>
        </p:txBody>
      </p:sp>
      <p:grpSp>
        <p:nvGrpSpPr>
          <p:cNvPr id="11" name="Web Roles"/>
          <p:cNvGrpSpPr/>
          <p:nvPr/>
        </p:nvGrpSpPr>
        <p:grpSpPr>
          <a:xfrm>
            <a:off x="379413" y="1388226"/>
            <a:ext cx="2467696" cy="2277873"/>
            <a:chOff x="3673066" y="2374847"/>
            <a:chExt cx="513800" cy="474277"/>
          </a:xfrm>
          <a:solidFill>
            <a:schemeClr val="tx2"/>
          </a:solidFill>
        </p:grpSpPr>
        <p:sp>
          <p:nvSpPr>
            <p:cNvPr id="12" name="Freeform 11"/>
            <p:cNvSpPr>
              <a:spLocks noChangeAspect="1"/>
            </p:cNvSpPr>
            <p:nvPr/>
          </p:nvSpPr>
          <p:spPr>
            <a:xfrm>
              <a:off x="3673066" y="2374847"/>
              <a:ext cx="513800" cy="474277"/>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13" name="Azure Web Sites EMF Icon 02"/>
            <p:cNvSpPr>
              <a:spLocks noChangeAspect="1" noEditPoints="1"/>
            </p:cNvSpPr>
            <p:nvPr/>
          </p:nvSpPr>
          <p:spPr bwMode="auto">
            <a:xfrm>
              <a:off x="3829040" y="2469943"/>
              <a:ext cx="201852" cy="200550"/>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420339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CF Web Services in Web Roles</a:t>
            </a:r>
            <a:endParaRPr lang="en-US" dirty="0"/>
          </a:p>
        </p:txBody>
      </p:sp>
      <p:sp>
        <p:nvSpPr>
          <p:cNvPr id="3" name="Content Placeholder 2"/>
          <p:cNvSpPr>
            <a:spLocks noGrp="1"/>
          </p:cNvSpPr>
          <p:nvPr>
            <p:ph sz="quarter" idx="10"/>
          </p:nvPr>
        </p:nvSpPr>
        <p:spPr>
          <a:xfrm>
            <a:off x="3054927" y="1388226"/>
            <a:ext cx="8849736" cy="5290388"/>
          </a:xfrm>
        </p:spPr>
        <p:txBody>
          <a:bodyPr/>
          <a:lstStyle/>
          <a:p>
            <a:r>
              <a:rPr lang="en-US" dirty="0" smtClean="0"/>
              <a:t>Pretty Easy!</a:t>
            </a:r>
          </a:p>
          <a:p>
            <a:r>
              <a:rPr lang="en-US" dirty="0" smtClean="0"/>
              <a:t>You write the web service the same</a:t>
            </a:r>
          </a:p>
          <a:p>
            <a:r>
              <a:rPr lang="en-US" dirty="0" smtClean="0"/>
              <a:t>IIS deals with hosting it</a:t>
            </a:r>
          </a:p>
          <a:p>
            <a:r>
              <a:rPr lang="en-US" dirty="0" smtClean="0"/>
              <a:t>Unless you ports other than 80, they are setup</a:t>
            </a:r>
          </a:p>
          <a:p>
            <a:r>
              <a:rPr lang="en-US" dirty="0" smtClean="0"/>
              <a:t>WCF Service / code has access to Azure runtime</a:t>
            </a:r>
          </a:p>
        </p:txBody>
      </p:sp>
      <p:grpSp>
        <p:nvGrpSpPr>
          <p:cNvPr id="11" name="Web Roles"/>
          <p:cNvGrpSpPr/>
          <p:nvPr/>
        </p:nvGrpSpPr>
        <p:grpSpPr>
          <a:xfrm>
            <a:off x="379413" y="1388226"/>
            <a:ext cx="2467696" cy="2277873"/>
            <a:chOff x="3673066" y="2374847"/>
            <a:chExt cx="513800" cy="474277"/>
          </a:xfrm>
          <a:solidFill>
            <a:schemeClr val="tx2"/>
          </a:solidFill>
        </p:grpSpPr>
        <p:sp>
          <p:nvSpPr>
            <p:cNvPr id="12" name="Freeform 11"/>
            <p:cNvSpPr>
              <a:spLocks noChangeAspect="1"/>
            </p:cNvSpPr>
            <p:nvPr/>
          </p:nvSpPr>
          <p:spPr>
            <a:xfrm>
              <a:off x="3673066" y="2374847"/>
              <a:ext cx="513800" cy="474277"/>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13" name="Azure Web Sites EMF Icon 02"/>
            <p:cNvSpPr>
              <a:spLocks noChangeAspect="1" noEditPoints="1"/>
            </p:cNvSpPr>
            <p:nvPr/>
          </p:nvSpPr>
          <p:spPr bwMode="auto">
            <a:xfrm>
              <a:off x="3829040" y="2469943"/>
              <a:ext cx="201852" cy="200550"/>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833851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unning and Deploying a WCF Service to a </a:t>
            </a:r>
            <a:r>
              <a:rPr lang="en-US" b="1" dirty="0" smtClean="0"/>
              <a:t>Web Role</a:t>
            </a:r>
            <a:endParaRPr lang="en-US" b="1" dirty="0"/>
          </a:p>
        </p:txBody>
      </p:sp>
    </p:spTree>
    <p:extLst>
      <p:ext uri="{BB962C8B-B14F-4D97-AF65-F5344CB8AC3E}">
        <p14:creationId xmlns:p14="http://schemas.microsoft.com/office/powerpoint/2010/main" val="21298699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GB" dirty="0" smtClean="0"/>
              <a:t>Windows Azure Overview</a:t>
            </a:r>
          </a:p>
          <a:p>
            <a:r>
              <a:rPr lang="en-GB" dirty="0" smtClean="0"/>
              <a:t>Windows Azure Web Sites</a:t>
            </a:r>
          </a:p>
          <a:p>
            <a:r>
              <a:rPr lang="en-GB" dirty="0" smtClean="0"/>
              <a:t>Windows Azure Cloud Service Web Roles</a:t>
            </a:r>
          </a:p>
          <a:p>
            <a:r>
              <a:rPr lang="en-GB" dirty="0" smtClean="0"/>
              <a:t>Windows Azure Cloud Service Worker Roles</a:t>
            </a:r>
            <a:endParaRPr lang="en-GB" dirty="0"/>
          </a:p>
        </p:txBody>
      </p:sp>
      <p:sp>
        <p:nvSpPr>
          <p:cNvPr id="2" name="Title 1"/>
          <p:cNvSpPr>
            <a:spLocks noGrp="1"/>
          </p:cNvSpPr>
          <p:nvPr>
            <p:ph type="title"/>
          </p:nvPr>
        </p:nvSpPr>
        <p:spPr/>
        <p:txBody>
          <a:bodyPr/>
          <a:lstStyle/>
          <a:p>
            <a:r>
              <a:rPr lang="en-US" smtClean="0"/>
              <a:t>Module Overview</a:t>
            </a:r>
            <a:endParaRPr lang="en-US" dirty="0"/>
          </a:p>
        </p:txBody>
      </p:sp>
    </p:spTree>
    <p:extLst>
      <p:ext uri="{BB962C8B-B14F-4D97-AF65-F5344CB8AC3E}">
        <p14:creationId xmlns:p14="http://schemas.microsoft.com/office/powerpoint/2010/main" val="3183499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er Roles</a:t>
            </a:r>
            <a:endParaRPr lang="en-US" dirty="0"/>
          </a:p>
        </p:txBody>
      </p:sp>
      <p:sp>
        <p:nvSpPr>
          <p:cNvPr id="3" name="Content Placeholder 2"/>
          <p:cNvSpPr>
            <a:spLocks noGrp="1"/>
          </p:cNvSpPr>
          <p:nvPr>
            <p:ph sz="quarter" idx="10"/>
          </p:nvPr>
        </p:nvSpPr>
        <p:spPr>
          <a:xfrm>
            <a:off x="3054927" y="1388226"/>
            <a:ext cx="8849736" cy="5290388"/>
          </a:xfrm>
        </p:spPr>
        <p:txBody>
          <a:bodyPr/>
          <a:lstStyle/>
          <a:p>
            <a:r>
              <a:rPr lang="en-US" dirty="0" smtClean="0"/>
              <a:t>Pre-configured Windows Server</a:t>
            </a:r>
          </a:p>
          <a:p>
            <a:r>
              <a:rPr lang="en-US" dirty="0" smtClean="0"/>
              <a:t>Nothing else installed</a:t>
            </a:r>
          </a:p>
          <a:p>
            <a:r>
              <a:rPr lang="en-US" dirty="0" smtClean="0"/>
              <a:t>No default Azure endpoints</a:t>
            </a:r>
          </a:p>
          <a:p>
            <a:r>
              <a:rPr lang="en-US" dirty="0" smtClean="0"/>
              <a:t>Run custom workloads that don’t require IIS</a:t>
            </a:r>
          </a:p>
          <a:p>
            <a:r>
              <a:rPr lang="en-US" dirty="0" smtClean="0"/>
              <a:t>Install additional software, etc. using scripts</a:t>
            </a:r>
          </a:p>
          <a:p>
            <a:r>
              <a:rPr lang="en-US" dirty="0" smtClean="0"/>
              <a:t>Implement Logic in the </a:t>
            </a:r>
            <a:r>
              <a:rPr lang="en-US" dirty="0" err="1" smtClean="0">
                <a:latin typeface="Consolas" panose="020B0609020204030204" pitchFamily="49" charset="0"/>
                <a:cs typeface="Consolas" panose="020B0609020204030204" pitchFamily="49" charset="0"/>
              </a:rPr>
              <a:t>WorkerRole.cs</a:t>
            </a:r>
            <a:r>
              <a:rPr lang="en-US" dirty="0" smtClean="0"/>
              <a:t> class</a:t>
            </a:r>
          </a:p>
        </p:txBody>
      </p:sp>
      <p:grpSp>
        <p:nvGrpSpPr>
          <p:cNvPr id="9" name="Worker Role"/>
          <p:cNvGrpSpPr/>
          <p:nvPr/>
        </p:nvGrpSpPr>
        <p:grpSpPr>
          <a:xfrm>
            <a:off x="379413" y="1388226"/>
            <a:ext cx="2467696" cy="2277873"/>
            <a:chOff x="379413" y="1388226"/>
            <a:chExt cx="2467696" cy="2277873"/>
          </a:xfrm>
        </p:grpSpPr>
        <p:sp>
          <p:nvSpPr>
            <p:cNvPr id="10" name="Freeform 9"/>
            <p:cNvSpPr>
              <a:spLocks noChangeAspect="1"/>
            </p:cNvSpPr>
            <p:nvPr/>
          </p:nvSpPr>
          <p:spPr>
            <a:xfrm>
              <a:off x="379413" y="1388226"/>
              <a:ext cx="2467696" cy="2277873"/>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11" name="Rectangle 10"/>
            <p:cNvSpPr/>
            <p:nvPr/>
          </p:nvSpPr>
          <p:spPr>
            <a:xfrm>
              <a:off x="1128530" y="1844956"/>
              <a:ext cx="969465" cy="963208"/>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5413499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CF Web Services in Worker Roles</a:t>
            </a:r>
            <a:endParaRPr lang="en-US" dirty="0"/>
          </a:p>
        </p:txBody>
      </p:sp>
      <p:sp>
        <p:nvSpPr>
          <p:cNvPr id="3" name="Content Placeholder 2"/>
          <p:cNvSpPr>
            <a:spLocks noGrp="1"/>
          </p:cNvSpPr>
          <p:nvPr>
            <p:ph sz="quarter" idx="10"/>
          </p:nvPr>
        </p:nvSpPr>
        <p:spPr>
          <a:xfrm>
            <a:off x="3054927" y="1388226"/>
            <a:ext cx="8849736" cy="5290388"/>
          </a:xfrm>
        </p:spPr>
        <p:txBody>
          <a:bodyPr/>
          <a:lstStyle/>
          <a:p>
            <a:r>
              <a:rPr lang="en-US" dirty="0" smtClean="0"/>
              <a:t>Not “Hard”, but not as easy as Web Roles</a:t>
            </a:r>
          </a:p>
          <a:p>
            <a:r>
              <a:rPr lang="en-US" dirty="0" smtClean="0"/>
              <a:t>You need to write code for the Service Host</a:t>
            </a:r>
          </a:p>
          <a:p>
            <a:r>
              <a:rPr lang="en-US" dirty="0" smtClean="0"/>
              <a:t>You need to create Azure Endpoints</a:t>
            </a:r>
          </a:p>
          <a:p>
            <a:r>
              <a:rPr lang="en-US" dirty="0" smtClean="0"/>
              <a:t>You can create the WCF endpoints in code</a:t>
            </a:r>
          </a:p>
          <a:p>
            <a:r>
              <a:rPr lang="en-US" dirty="0" smtClean="0"/>
              <a:t>Can also create WCF endpoints in </a:t>
            </a:r>
            <a:r>
              <a:rPr lang="en-US" dirty="0" err="1" smtClean="0"/>
              <a:t>config</a:t>
            </a:r>
            <a:endParaRPr lang="en-US" dirty="0" smtClean="0"/>
          </a:p>
          <a:p>
            <a:r>
              <a:rPr lang="en-US" dirty="0" smtClean="0"/>
              <a:t>Again, </a:t>
            </a:r>
            <a:r>
              <a:rPr lang="en-US" dirty="0" err="1" smtClean="0">
                <a:latin typeface="Consolas" panose="020B0609020204030204" pitchFamily="49" charset="0"/>
                <a:cs typeface="Consolas" panose="020B0609020204030204" pitchFamily="49" charset="0"/>
              </a:rPr>
              <a:t>WorkerRole.cs</a:t>
            </a:r>
            <a:r>
              <a:rPr lang="en-US" dirty="0" smtClean="0"/>
              <a:t> is where you code</a:t>
            </a:r>
          </a:p>
        </p:txBody>
      </p:sp>
      <p:grpSp>
        <p:nvGrpSpPr>
          <p:cNvPr id="11" name="Web Roles"/>
          <p:cNvGrpSpPr/>
          <p:nvPr/>
        </p:nvGrpSpPr>
        <p:grpSpPr>
          <a:xfrm>
            <a:off x="379413" y="1388226"/>
            <a:ext cx="2467696" cy="2277873"/>
            <a:chOff x="3673066" y="2374847"/>
            <a:chExt cx="513800" cy="474277"/>
          </a:xfrm>
          <a:solidFill>
            <a:schemeClr val="tx2"/>
          </a:solidFill>
        </p:grpSpPr>
        <p:sp>
          <p:nvSpPr>
            <p:cNvPr id="12" name="Freeform 11"/>
            <p:cNvSpPr>
              <a:spLocks noChangeAspect="1"/>
            </p:cNvSpPr>
            <p:nvPr/>
          </p:nvSpPr>
          <p:spPr>
            <a:xfrm>
              <a:off x="3673066" y="2374847"/>
              <a:ext cx="513800" cy="474277"/>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13" name="Azure Web Sites EMF Icon 02"/>
            <p:cNvSpPr>
              <a:spLocks noChangeAspect="1" noEditPoints="1"/>
            </p:cNvSpPr>
            <p:nvPr/>
          </p:nvSpPr>
          <p:spPr bwMode="auto">
            <a:xfrm>
              <a:off x="3829040" y="2469943"/>
              <a:ext cx="201852" cy="200550"/>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663982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unning and Deploying a WCF Service to a </a:t>
            </a:r>
            <a:r>
              <a:rPr lang="en-US" b="1" dirty="0" smtClean="0"/>
              <a:t>Worker Role</a:t>
            </a:r>
            <a:endParaRPr lang="en-US" b="1" dirty="0"/>
          </a:p>
        </p:txBody>
      </p:sp>
    </p:spTree>
    <p:extLst>
      <p:ext uri="{BB962C8B-B14F-4D97-AF65-F5344CB8AC3E}">
        <p14:creationId xmlns:p14="http://schemas.microsoft.com/office/powerpoint/2010/main" val="386919401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Azure Overview</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4229552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grpSp>
        <p:nvGrpSpPr>
          <p:cNvPr id="82" name="Group 81"/>
          <p:cNvGrpSpPr/>
          <p:nvPr/>
        </p:nvGrpSpPr>
        <p:grpSpPr>
          <a:xfrm>
            <a:off x="1349476" y="1283319"/>
            <a:ext cx="9493048" cy="4058540"/>
            <a:chOff x="2140086" y="1283319"/>
            <a:chExt cx="9493048" cy="4058540"/>
          </a:xfrm>
        </p:grpSpPr>
        <p:sp>
          <p:nvSpPr>
            <p:cNvPr id="80" name="Cloud Icon 02"/>
            <p:cNvSpPr>
              <a:spLocks noChangeAspect="1"/>
            </p:cNvSpPr>
            <p:nvPr/>
          </p:nvSpPr>
          <p:spPr bwMode="auto">
            <a:xfrm>
              <a:off x="4300997" y="1283319"/>
              <a:ext cx="2397779" cy="1636329"/>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9" name="TextBox 78"/>
            <p:cNvSpPr txBox="1"/>
            <p:nvPr/>
          </p:nvSpPr>
          <p:spPr>
            <a:xfrm>
              <a:off x="2140086" y="2171760"/>
              <a:ext cx="9493048" cy="3170099"/>
            </a:xfrm>
            <a:prstGeom prst="rect">
              <a:avLst/>
            </a:prstGeom>
            <a:noFill/>
          </p:spPr>
          <p:txBody>
            <a:bodyPr wrap="none" rtlCol="0">
              <a:spAutoFit/>
            </a:bodyPr>
            <a:lstStyle/>
            <a:p>
              <a:pPr algn="ctr"/>
              <a:r>
                <a:rPr lang="en-US" sz="4000" dirty="0" smtClean="0"/>
                <a:t>For me, “</a:t>
              </a:r>
              <a:r>
                <a:rPr lang="en-US" sz="4000" b="1" i="1" dirty="0" smtClean="0"/>
                <a:t>the cloud</a:t>
              </a:r>
              <a:r>
                <a:rPr lang="en-US" sz="4000" dirty="0" smtClean="0"/>
                <a:t>”, at it’s heart is about </a:t>
              </a:r>
            </a:p>
            <a:p>
              <a:pPr algn="ctr"/>
              <a:r>
                <a:rPr lang="en-US" sz="4000" dirty="0" smtClean="0"/>
                <a:t>running your code, </a:t>
              </a:r>
            </a:p>
            <a:p>
              <a:pPr algn="ctr"/>
              <a:r>
                <a:rPr lang="en-US" sz="4000" dirty="0" smtClean="0"/>
                <a:t>and storing your data </a:t>
              </a:r>
            </a:p>
            <a:p>
              <a:pPr algn="ctr"/>
              <a:r>
                <a:rPr lang="en-US" sz="4000" dirty="0" smtClean="0"/>
                <a:t>in somebody else's data center </a:t>
              </a:r>
            </a:p>
            <a:p>
              <a:pPr algn="ctr"/>
              <a:r>
                <a:rPr lang="en-US" sz="4000" dirty="0" smtClean="0"/>
                <a:t>and leveraging their platform and services </a:t>
              </a:r>
            </a:p>
          </p:txBody>
        </p:sp>
      </p:grpSp>
    </p:spTree>
    <p:extLst>
      <p:ext uri="{BB962C8B-B14F-4D97-AF65-F5344CB8AC3E}">
        <p14:creationId xmlns:p14="http://schemas.microsoft.com/office/powerpoint/2010/main" val="40909599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grpSp>
        <p:nvGrpSpPr>
          <p:cNvPr id="6" name="World Map Dots"/>
          <p:cNvGrpSpPr/>
          <p:nvPr/>
        </p:nvGrpSpPr>
        <p:grpSpPr>
          <a:xfrm>
            <a:off x="1267146" y="1156908"/>
            <a:ext cx="9657709" cy="5348058"/>
            <a:chOff x="395371" y="1139688"/>
            <a:chExt cx="8399866" cy="4651514"/>
          </a:xfrm>
          <a:noFill/>
        </p:grpSpPr>
        <p:sp>
          <p:nvSpPr>
            <p:cNvPr id="7" name="Oval 9"/>
            <p:cNvSpPr>
              <a:spLocks noChangeAspect="1" noChangeArrowheads="1"/>
            </p:cNvSpPr>
            <p:nvPr userDrawn="1"/>
          </p:nvSpPr>
          <p:spPr bwMode="auto">
            <a:xfrm>
              <a:off x="2417310"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 name="Oval 10"/>
            <p:cNvSpPr>
              <a:spLocks noChangeAspect="1" noChangeArrowheads="1"/>
            </p:cNvSpPr>
            <p:nvPr userDrawn="1"/>
          </p:nvSpPr>
          <p:spPr bwMode="auto">
            <a:xfrm>
              <a:off x="2528886"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 name="Oval 11"/>
            <p:cNvSpPr>
              <a:spLocks noChangeAspect="1" noChangeArrowheads="1"/>
            </p:cNvSpPr>
            <p:nvPr userDrawn="1"/>
          </p:nvSpPr>
          <p:spPr bwMode="auto">
            <a:xfrm>
              <a:off x="2641969"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 name="Oval 12"/>
            <p:cNvSpPr>
              <a:spLocks noChangeAspect="1" noChangeArrowheads="1"/>
            </p:cNvSpPr>
            <p:nvPr userDrawn="1"/>
          </p:nvSpPr>
          <p:spPr bwMode="auto">
            <a:xfrm>
              <a:off x="2753545"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 name="Oval 13"/>
            <p:cNvSpPr>
              <a:spLocks noChangeAspect="1" noChangeArrowheads="1"/>
            </p:cNvSpPr>
            <p:nvPr userDrawn="1"/>
          </p:nvSpPr>
          <p:spPr bwMode="auto">
            <a:xfrm>
              <a:off x="3091289"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 name="Oval 14"/>
            <p:cNvSpPr>
              <a:spLocks noChangeAspect="1" noChangeArrowheads="1"/>
            </p:cNvSpPr>
            <p:nvPr userDrawn="1"/>
          </p:nvSpPr>
          <p:spPr bwMode="auto">
            <a:xfrm>
              <a:off x="3204373"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 name="Oval 15"/>
            <p:cNvSpPr>
              <a:spLocks noChangeAspect="1" noChangeArrowheads="1"/>
            </p:cNvSpPr>
            <p:nvPr userDrawn="1"/>
          </p:nvSpPr>
          <p:spPr bwMode="auto">
            <a:xfrm>
              <a:off x="3315949"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 name="Oval 16"/>
            <p:cNvSpPr>
              <a:spLocks noChangeAspect="1" noChangeArrowheads="1"/>
            </p:cNvSpPr>
            <p:nvPr userDrawn="1"/>
          </p:nvSpPr>
          <p:spPr bwMode="auto">
            <a:xfrm>
              <a:off x="3429033"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 name="Oval 17"/>
            <p:cNvSpPr>
              <a:spLocks noChangeAspect="1" noChangeArrowheads="1"/>
            </p:cNvSpPr>
            <p:nvPr userDrawn="1"/>
          </p:nvSpPr>
          <p:spPr bwMode="auto">
            <a:xfrm>
              <a:off x="3540609"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 name="Oval 18"/>
            <p:cNvSpPr>
              <a:spLocks noChangeAspect="1" noChangeArrowheads="1"/>
            </p:cNvSpPr>
            <p:nvPr userDrawn="1"/>
          </p:nvSpPr>
          <p:spPr bwMode="auto">
            <a:xfrm>
              <a:off x="3653693"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 name="Oval 19"/>
            <p:cNvSpPr>
              <a:spLocks noChangeAspect="1" noChangeArrowheads="1"/>
            </p:cNvSpPr>
            <p:nvPr userDrawn="1"/>
          </p:nvSpPr>
          <p:spPr bwMode="auto">
            <a:xfrm>
              <a:off x="3765269"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 name="Oval 20"/>
            <p:cNvSpPr>
              <a:spLocks noChangeAspect="1" noChangeArrowheads="1"/>
            </p:cNvSpPr>
            <p:nvPr userDrawn="1"/>
          </p:nvSpPr>
          <p:spPr bwMode="auto">
            <a:xfrm>
              <a:off x="3878352"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 name="Oval 21"/>
            <p:cNvSpPr>
              <a:spLocks noChangeAspect="1" noChangeArrowheads="1"/>
            </p:cNvSpPr>
            <p:nvPr userDrawn="1"/>
          </p:nvSpPr>
          <p:spPr bwMode="auto">
            <a:xfrm>
              <a:off x="3989928"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 name="Oval 22"/>
            <p:cNvSpPr>
              <a:spLocks noChangeAspect="1" noChangeArrowheads="1"/>
            </p:cNvSpPr>
            <p:nvPr userDrawn="1"/>
          </p:nvSpPr>
          <p:spPr bwMode="auto">
            <a:xfrm>
              <a:off x="6574270"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 name="Oval 23"/>
            <p:cNvSpPr>
              <a:spLocks noChangeAspect="1" noChangeArrowheads="1"/>
            </p:cNvSpPr>
            <p:nvPr userDrawn="1"/>
          </p:nvSpPr>
          <p:spPr bwMode="auto">
            <a:xfrm>
              <a:off x="2192650"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 name="Oval 24"/>
            <p:cNvSpPr>
              <a:spLocks noChangeAspect="1" noChangeArrowheads="1"/>
            </p:cNvSpPr>
            <p:nvPr userDrawn="1"/>
          </p:nvSpPr>
          <p:spPr bwMode="auto">
            <a:xfrm>
              <a:off x="2304226"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 name="Oval 25"/>
            <p:cNvSpPr>
              <a:spLocks noChangeAspect="1" noChangeArrowheads="1"/>
            </p:cNvSpPr>
            <p:nvPr userDrawn="1"/>
          </p:nvSpPr>
          <p:spPr bwMode="auto">
            <a:xfrm>
              <a:off x="2417310"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 name="Oval 26"/>
            <p:cNvSpPr>
              <a:spLocks noChangeAspect="1" noChangeArrowheads="1"/>
            </p:cNvSpPr>
            <p:nvPr userDrawn="1"/>
          </p:nvSpPr>
          <p:spPr bwMode="auto">
            <a:xfrm>
              <a:off x="2528886"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 name="Oval 27"/>
            <p:cNvSpPr>
              <a:spLocks noChangeAspect="1" noChangeArrowheads="1"/>
            </p:cNvSpPr>
            <p:nvPr userDrawn="1"/>
          </p:nvSpPr>
          <p:spPr bwMode="auto">
            <a:xfrm>
              <a:off x="2641969"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 name="Oval 28"/>
            <p:cNvSpPr>
              <a:spLocks noChangeAspect="1" noChangeArrowheads="1"/>
            </p:cNvSpPr>
            <p:nvPr userDrawn="1"/>
          </p:nvSpPr>
          <p:spPr bwMode="auto">
            <a:xfrm>
              <a:off x="2866630"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 name="Oval 29"/>
            <p:cNvSpPr>
              <a:spLocks noChangeAspect="1" noChangeArrowheads="1"/>
            </p:cNvSpPr>
            <p:nvPr userDrawn="1"/>
          </p:nvSpPr>
          <p:spPr bwMode="auto">
            <a:xfrm>
              <a:off x="2978206"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 name="Oval 30"/>
            <p:cNvSpPr>
              <a:spLocks noChangeAspect="1" noChangeArrowheads="1"/>
            </p:cNvSpPr>
            <p:nvPr userDrawn="1"/>
          </p:nvSpPr>
          <p:spPr bwMode="auto">
            <a:xfrm>
              <a:off x="3091289"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 name="Oval 31"/>
            <p:cNvSpPr>
              <a:spLocks noChangeAspect="1" noChangeArrowheads="1"/>
            </p:cNvSpPr>
            <p:nvPr userDrawn="1"/>
          </p:nvSpPr>
          <p:spPr bwMode="auto">
            <a:xfrm>
              <a:off x="3204373"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 name="Oval 32"/>
            <p:cNvSpPr>
              <a:spLocks noChangeAspect="1" noChangeArrowheads="1"/>
            </p:cNvSpPr>
            <p:nvPr userDrawn="1"/>
          </p:nvSpPr>
          <p:spPr bwMode="auto">
            <a:xfrm>
              <a:off x="3315949"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 name="Oval 33"/>
            <p:cNvSpPr>
              <a:spLocks noChangeAspect="1" noChangeArrowheads="1"/>
            </p:cNvSpPr>
            <p:nvPr userDrawn="1"/>
          </p:nvSpPr>
          <p:spPr bwMode="auto">
            <a:xfrm>
              <a:off x="3429033"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 name="Oval 34"/>
            <p:cNvSpPr>
              <a:spLocks noChangeAspect="1" noChangeArrowheads="1"/>
            </p:cNvSpPr>
            <p:nvPr userDrawn="1"/>
          </p:nvSpPr>
          <p:spPr bwMode="auto">
            <a:xfrm>
              <a:off x="3540609"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 name="Oval 35"/>
            <p:cNvSpPr>
              <a:spLocks noChangeAspect="1" noChangeArrowheads="1"/>
            </p:cNvSpPr>
            <p:nvPr userDrawn="1"/>
          </p:nvSpPr>
          <p:spPr bwMode="auto">
            <a:xfrm>
              <a:off x="3653693"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 name="Oval 36"/>
            <p:cNvSpPr>
              <a:spLocks noChangeAspect="1" noChangeArrowheads="1"/>
            </p:cNvSpPr>
            <p:nvPr userDrawn="1"/>
          </p:nvSpPr>
          <p:spPr bwMode="auto">
            <a:xfrm>
              <a:off x="3765269"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 name="Oval 37"/>
            <p:cNvSpPr>
              <a:spLocks noChangeAspect="1" noChangeArrowheads="1"/>
            </p:cNvSpPr>
            <p:nvPr userDrawn="1"/>
          </p:nvSpPr>
          <p:spPr bwMode="auto">
            <a:xfrm>
              <a:off x="3878352"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 name="Oval 38"/>
            <p:cNvSpPr>
              <a:spLocks noChangeAspect="1" noChangeArrowheads="1"/>
            </p:cNvSpPr>
            <p:nvPr userDrawn="1"/>
          </p:nvSpPr>
          <p:spPr bwMode="auto">
            <a:xfrm>
              <a:off x="4663908"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 name="Oval 39"/>
            <p:cNvSpPr>
              <a:spLocks noChangeAspect="1" noChangeArrowheads="1"/>
            </p:cNvSpPr>
            <p:nvPr userDrawn="1"/>
          </p:nvSpPr>
          <p:spPr bwMode="auto">
            <a:xfrm>
              <a:off x="4776992"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 name="Oval 40"/>
            <p:cNvSpPr>
              <a:spLocks noChangeAspect="1" noChangeArrowheads="1"/>
            </p:cNvSpPr>
            <p:nvPr userDrawn="1"/>
          </p:nvSpPr>
          <p:spPr bwMode="auto">
            <a:xfrm>
              <a:off x="6462694"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 name="Oval 41"/>
            <p:cNvSpPr>
              <a:spLocks noChangeAspect="1" noChangeArrowheads="1"/>
            </p:cNvSpPr>
            <p:nvPr userDrawn="1"/>
          </p:nvSpPr>
          <p:spPr bwMode="auto">
            <a:xfrm>
              <a:off x="6574270"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 name="Oval 42"/>
            <p:cNvSpPr>
              <a:spLocks noChangeAspect="1" noChangeArrowheads="1"/>
            </p:cNvSpPr>
            <p:nvPr userDrawn="1"/>
          </p:nvSpPr>
          <p:spPr bwMode="auto">
            <a:xfrm>
              <a:off x="6687355"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 name="Oval 43"/>
            <p:cNvSpPr>
              <a:spLocks noChangeAspect="1" noChangeArrowheads="1"/>
            </p:cNvSpPr>
            <p:nvPr userDrawn="1"/>
          </p:nvSpPr>
          <p:spPr bwMode="auto">
            <a:xfrm>
              <a:off x="1518671"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 name="Oval 44"/>
            <p:cNvSpPr>
              <a:spLocks noChangeAspect="1" noChangeArrowheads="1"/>
            </p:cNvSpPr>
            <p:nvPr userDrawn="1"/>
          </p:nvSpPr>
          <p:spPr bwMode="auto">
            <a:xfrm>
              <a:off x="1630247"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 name="Oval 45"/>
            <p:cNvSpPr>
              <a:spLocks noChangeAspect="1" noChangeArrowheads="1"/>
            </p:cNvSpPr>
            <p:nvPr userDrawn="1"/>
          </p:nvSpPr>
          <p:spPr bwMode="auto">
            <a:xfrm>
              <a:off x="1743330"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 name="Oval 46"/>
            <p:cNvSpPr>
              <a:spLocks noChangeAspect="1" noChangeArrowheads="1"/>
            </p:cNvSpPr>
            <p:nvPr userDrawn="1"/>
          </p:nvSpPr>
          <p:spPr bwMode="auto">
            <a:xfrm>
              <a:off x="1854906"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 name="Oval 47"/>
            <p:cNvSpPr>
              <a:spLocks noChangeAspect="1" noChangeArrowheads="1"/>
            </p:cNvSpPr>
            <p:nvPr userDrawn="1"/>
          </p:nvSpPr>
          <p:spPr bwMode="auto">
            <a:xfrm>
              <a:off x="1967990"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 name="Oval 48"/>
            <p:cNvSpPr>
              <a:spLocks noChangeAspect="1" noChangeArrowheads="1"/>
            </p:cNvSpPr>
            <p:nvPr userDrawn="1"/>
          </p:nvSpPr>
          <p:spPr bwMode="auto">
            <a:xfrm>
              <a:off x="2192650"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 name="Oval 49"/>
            <p:cNvSpPr>
              <a:spLocks noChangeAspect="1" noChangeArrowheads="1"/>
            </p:cNvSpPr>
            <p:nvPr userDrawn="1"/>
          </p:nvSpPr>
          <p:spPr bwMode="auto">
            <a:xfrm>
              <a:off x="2304226"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 name="Oval 50"/>
            <p:cNvSpPr>
              <a:spLocks noChangeAspect="1" noChangeArrowheads="1"/>
            </p:cNvSpPr>
            <p:nvPr userDrawn="1"/>
          </p:nvSpPr>
          <p:spPr bwMode="auto">
            <a:xfrm>
              <a:off x="2417310"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 name="Oval 51"/>
            <p:cNvSpPr>
              <a:spLocks noChangeAspect="1" noChangeArrowheads="1"/>
            </p:cNvSpPr>
            <p:nvPr userDrawn="1"/>
          </p:nvSpPr>
          <p:spPr bwMode="auto">
            <a:xfrm>
              <a:off x="2528886"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 name="Oval 52"/>
            <p:cNvSpPr>
              <a:spLocks noChangeAspect="1" noChangeArrowheads="1"/>
            </p:cNvSpPr>
            <p:nvPr userDrawn="1"/>
          </p:nvSpPr>
          <p:spPr bwMode="auto">
            <a:xfrm>
              <a:off x="2753545"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 name="Oval 53"/>
            <p:cNvSpPr>
              <a:spLocks noChangeAspect="1" noChangeArrowheads="1"/>
            </p:cNvSpPr>
            <p:nvPr userDrawn="1"/>
          </p:nvSpPr>
          <p:spPr bwMode="auto">
            <a:xfrm>
              <a:off x="2866630"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 name="Oval 54"/>
            <p:cNvSpPr>
              <a:spLocks noChangeAspect="1" noChangeArrowheads="1"/>
            </p:cNvSpPr>
            <p:nvPr userDrawn="1"/>
          </p:nvSpPr>
          <p:spPr bwMode="auto">
            <a:xfrm>
              <a:off x="2978206"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 name="Oval 55"/>
            <p:cNvSpPr>
              <a:spLocks noChangeAspect="1" noChangeArrowheads="1"/>
            </p:cNvSpPr>
            <p:nvPr userDrawn="1"/>
          </p:nvSpPr>
          <p:spPr bwMode="auto">
            <a:xfrm>
              <a:off x="3091289"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 name="Oval 56"/>
            <p:cNvSpPr>
              <a:spLocks noChangeAspect="1" noChangeArrowheads="1"/>
            </p:cNvSpPr>
            <p:nvPr userDrawn="1"/>
          </p:nvSpPr>
          <p:spPr bwMode="auto">
            <a:xfrm>
              <a:off x="3204373"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 name="Oval 57"/>
            <p:cNvSpPr>
              <a:spLocks noChangeAspect="1" noChangeArrowheads="1"/>
            </p:cNvSpPr>
            <p:nvPr userDrawn="1"/>
          </p:nvSpPr>
          <p:spPr bwMode="auto">
            <a:xfrm>
              <a:off x="3315949"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 name="Oval 58"/>
            <p:cNvSpPr>
              <a:spLocks noChangeAspect="1" noChangeArrowheads="1"/>
            </p:cNvSpPr>
            <p:nvPr userDrawn="1"/>
          </p:nvSpPr>
          <p:spPr bwMode="auto">
            <a:xfrm>
              <a:off x="3429033"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 name="Oval 59"/>
            <p:cNvSpPr>
              <a:spLocks noChangeAspect="1" noChangeArrowheads="1"/>
            </p:cNvSpPr>
            <p:nvPr userDrawn="1"/>
          </p:nvSpPr>
          <p:spPr bwMode="auto">
            <a:xfrm>
              <a:off x="3540609"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 name="Oval 60"/>
            <p:cNvSpPr>
              <a:spLocks noChangeAspect="1" noChangeArrowheads="1"/>
            </p:cNvSpPr>
            <p:nvPr userDrawn="1"/>
          </p:nvSpPr>
          <p:spPr bwMode="auto">
            <a:xfrm>
              <a:off x="3653693"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 name="Oval 61"/>
            <p:cNvSpPr>
              <a:spLocks noChangeAspect="1" noChangeArrowheads="1"/>
            </p:cNvSpPr>
            <p:nvPr userDrawn="1"/>
          </p:nvSpPr>
          <p:spPr bwMode="auto">
            <a:xfrm>
              <a:off x="3765269"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 name="Oval 62"/>
            <p:cNvSpPr>
              <a:spLocks noChangeAspect="1" noChangeArrowheads="1"/>
            </p:cNvSpPr>
            <p:nvPr userDrawn="1"/>
          </p:nvSpPr>
          <p:spPr bwMode="auto">
            <a:xfrm>
              <a:off x="4663908"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 name="Oval 63"/>
            <p:cNvSpPr>
              <a:spLocks noChangeAspect="1" noChangeArrowheads="1"/>
            </p:cNvSpPr>
            <p:nvPr userDrawn="1"/>
          </p:nvSpPr>
          <p:spPr bwMode="auto">
            <a:xfrm>
              <a:off x="6687355"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 name="Oval 64"/>
            <p:cNvSpPr>
              <a:spLocks noChangeAspect="1" noChangeArrowheads="1"/>
            </p:cNvSpPr>
            <p:nvPr userDrawn="1"/>
          </p:nvSpPr>
          <p:spPr bwMode="auto">
            <a:xfrm>
              <a:off x="6798931"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 name="Oval 65"/>
            <p:cNvSpPr>
              <a:spLocks noChangeAspect="1" noChangeArrowheads="1"/>
            </p:cNvSpPr>
            <p:nvPr userDrawn="1"/>
          </p:nvSpPr>
          <p:spPr bwMode="auto">
            <a:xfrm>
              <a:off x="1405586"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 name="Oval 66"/>
            <p:cNvSpPr>
              <a:spLocks noChangeAspect="1" noChangeArrowheads="1"/>
            </p:cNvSpPr>
            <p:nvPr userDrawn="1"/>
          </p:nvSpPr>
          <p:spPr bwMode="auto">
            <a:xfrm>
              <a:off x="1518671"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 name="Oval 67"/>
            <p:cNvSpPr>
              <a:spLocks noChangeAspect="1" noChangeArrowheads="1"/>
            </p:cNvSpPr>
            <p:nvPr userDrawn="1"/>
          </p:nvSpPr>
          <p:spPr bwMode="auto">
            <a:xfrm>
              <a:off x="1630247"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 name="Oval 68"/>
            <p:cNvSpPr>
              <a:spLocks noChangeAspect="1" noChangeArrowheads="1"/>
            </p:cNvSpPr>
            <p:nvPr userDrawn="1"/>
          </p:nvSpPr>
          <p:spPr bwMode="auto">
            <a:xfrm>
              <a:off x="1743330"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 name="Oval 69"/>
            <p:cNvSpPr>
              <a:spLocks noChangeAspect="1" noChangeArrowheads="1"/>
            </p:cNvSpPr>
            <p:nvPr userDrawn="1"/>
          </p:nvSpPr>
          <p:spPr bwMode="auto">
            <a:xfrm>
              <a:off x="1854906"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 name="Oval 70"/>
            <p:cNvSpPr>
              <a:spLocks noChangeAspect="1" noChangeArrowheads="1"/>
            </p:cNvSpPr>
            <p:nvPr userDrawn="1"/>
          </p:nvSpPr>
          <p:spPr bwMode="auto">
            <a:xfrm>
              <a:off x="1967990"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 name="Oval 71"/>
            <p:cNvSpPr>
              <a:spLocks noChangeAspect="1" noChangeArrowheads="1"/>
            </p:cNvSpPr>
            <p:nvPr userDrawn="1"/>
          </p:nvSpPr>
          <p:spPr bwMode="auto">
            <a:xfrm>
              <a:off x="2079566"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 name="Oval 72"/>
            <p:cNvSpPr>
              <a:spLocks noChangeAspect="1" noChangeArrowheads="1"/>
            </p:cNvSpPr>
            <p:nvPr userDrawn="1"/>
          </p:nvSpPr>
          <p:spPr bwMode="auto">
            <a:xfrm>
              <a:off x="2192650"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 name="Oval 73"/>
            <p:cNvSpPr>
              <a:spLocks noChangeAspect="1" noChangeArrowheads="1"/>
            </p:cNvSpPr>
            <p:nvPr userDrawn="1"/>
          </p:nvSpPr>
          <p:spPr bwMode="auto">
            <a:xfrm>
              <a:off x="2304226"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 name="Oval 74"/>
            <p:cNvSpPr>
              <a:spLocks noChangeAspect="1" noChangeArrowheads="1"/>
            </p:cNvSpPr>
            <p:nvPr userDrawn="1"/>
          </p:nvSpPr>
          <p:spPr bwMode="auto">
            <a:xfrm>
              <a:off x="2417310"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 name="Oval 75"/>
            <p:cNvSpPr>
              <a:spLocks noChangeAspect="1" noChangeArrowheads="1"/>
            </p:cNvSpPr>
            <p:nvPr userDrawn="1"/>
          </p:nvSpPr>
          <p:spPr bwMode="auto">
            <a:xfrm>
              <a:off x="2753545"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 name="Oval 76"/>
            <p:cNvSpPr>
              <a:spLocks noChangeAspect="1" noChangeArrowheads="1"/>
            </p:cNvSpPr>
            <p:nvPr userDrawn="1"/>
          </p:nvSpPr>
          <p:spPr bwMode="auto">
            <a:xfrm>
              <a:off x="2866630"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 name="Oval 77"/>
            <p:cNvSpPr>
              <a:spLocks noChangeAspect="1" noChangeArrowheads="1"/>
            </p:cNvSpPr>
            <p:nvPr userDrawn="1"/>
          </p:nvSpPr>
          <p:spPr bwMode="auto">
            <a:xfrm>
              <a:off x="2978206"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 name="Oval 78"/>
            <p:cNvSpPr>
              <a:spLocks noChangeAspect="1" noChangeArrowheads="1"/>
            </p:cNvSpPr>
            <p:nvPr userDrawn="1"/>
          </p:nvSpPr>
          <p:spPr bwMode="auto">
            <a:xfrm>
              <a:off x="3091289"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 name="Oval 79"/>
            <p:cNvSpPr>
              <a:spLocks noChangeAspect="1" noChangeArrowheads="1"/>
            </p:cNvSpPr>
            <p:nvPr userDrawn="1"/>
          </p:nvSpPr>
          <p:spPr bwMode="auto">
            <a:xfrm>
              <a:off x="3204373"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 name="Oval 80"/>
            <p:cNvSpPr>
              <a:spLocks noChangeAspect="1" noChangeArrowheads="1"/>
            </p:cNvSpPr>
            <p:nvPr userDrawn="1"/>
          </p:nvSpPr>
          <p:spPr bwMode="auto">
            <a:xfrm>
              <a:off x="3315949"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 name="Oval 81"/>
            <p:cNvSpPr>
              <a:spLocks noChangeAspect="1" noChangeArrowheads="1"/>
            </p:cNvSpPr>
            <p:nvPr userDrawn="1"/>
          </p:nvSpPr>
          <p:spPr bwMode="auto">
            <a:xfrm>
              <a:off x="3429033"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 name="Oval 82"/>
            <p:cNvSpPr>
              <a:spLocks noChangeAspect="1" noChangeArrowheads="1"/>
            </p:cNvSpPr>
            <p:nvPr userDrawn="1"/>
          </p:nvSpPr>
          <p:spPr bwMode="auto">
            <a:xfrm>
              <a:off x="3540609"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 name="Oval 83"/>
            <p:cNvSpPr>
              <a:spLocks noChangeAspect="1" noChangeArrowheads="1"/>
            </p:cNvSpPr>
            <p:nvPr userDrawn="1"/>
          </p:nvSpPr>
          <p:spPr bwMode="auto">
            <a:xfrm>
              <a:off x="3653693"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 name="Oval 84"/>
            <p:cNvSpPr>
              <a:spLocks noChangeAspect="1" noChangeArrowheads="1"/>
            </p:cNvSpPr>
            <p:nvPr userDrawn="1"/>
          </p:nvSpPr>
          <p:spPr bwMode="auto">
            <a:xfrm>
              <a:off x="3765269"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 name="Oval 85"/>
            <p:cNvSpPr>
              <a:spLocks noChangeAspect="1" noChangeArrowheads="1"/>
            </p:cNvSpPr>
            <p:nvPr userDrawn="1"/>
          </p:nvSpPr>
          <p:spPr bwMode="auto">
            <a:xfrm>
              <a:off x="5787207"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 name="Oval 86"/>
            <p:cNvSpPr>
              <a:spLocks noChangeAspect="1" noChangeArrowheads="1"/>
            </p:cNvSpPr>
            <p:nvPr userDrawn="1"/>
          </p:nvSpPr>
          <p:spPr bwMode="auto">
            <a:xfrm>
              <a:off x="5900291"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 name="Oval 87"/>
            <p:cNvSpPr>
              <a:spLocks noChangeAspect="1" noChangeArrowheads="1"/>
            </p:cNvSpPr>
            <p:nvPr userDrawn="1"/>
          </p:nvSpPr>
          <p:spPr bwMode="auto">
            <a:xfrm>
              <a:off x="6574270"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 name="Oval 88"/>
            <p:cNvSpPr>
              <a:spLocks noChangeAspect="1" noChangeArrowheads="1"/>
            </p:cNvSpPr>
            <p:nvPr userDrawn="1"/>
          </p:nvSpPr>
          <p:spPr bwMode="auto">
            <a:xfrm>
              <a:off x="6687355"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 name="Oval 89"/>
            <p:cNvSpPr>
              <a:spLocks noChangeAspect="1" noChangeArrowheads="1"/>
            </p:cNvSpPr>
            <p:nvPr userDrawn="1"/>
          </p:nvSpPr>
          <p:spPr bwMode="auto">
            <a:xfrm>
              <a:off x="6798931"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 name="Oval 90"/>
            <p:cNvSpPr>
              <a:spLocks noChangeAspect="1" noChangeArrowheads="1"/>
            </p:cNvSpPr>
            <p:nvPr userDrawn="1"/>
          </p:nvSpPr>
          <p:spPr bwMode="auto">
            <a:xfrm>
              <a:off x="6912014"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 name="Oval 91"/>
            <p:cNvSpPr>
              <a:spLocks noChangeAspect="1" noChangeArrowheads="1"/>
            </p:cNvSpPr>
            <p:nvPr userDrawn="1"/>
          </p:nvSpPr>
          <p:spPr bwMode="auto">
            <a:xfrm>
              <a:off x="7585994"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 name="Oval 92"/>
            <p:cNvSpPr>
              <a:spLocks noChangeAspect="1" noChangeArrowheads="1"/>
            </p:cNvSpPr>
            <p:nvPr userDrawn="1"/>
          </p:nvSpPr>
          <p:spPr bwMode="auto">
            <a:xfrm>
              <a:off x="7697570"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 name="Oval 93"/>
            <p:cNvSpPr>
              <a:spLocks noChangeAspect="1" noChangeArrowheads="1"/>
            </p:cNvSpPr>
            <p:nvPr userDrawn="1"/>
          </p:nvSpPr>
          <p:spPr bwMode="auto">
            <a:xfrm>
              <a:off x="7810653"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 name="Oval 94"/>
            <p:cNvSpPr>
              <a:spLocks noChangeAspect="1" noChangeArrowheads="1"/>
            </p:cNvSpPr>
            <p:nvPr userDrawn="1"/>
          </p:nvSpPr>
          <p:spPr bwMode="auto">
            <a:xfrm>
              <a:off x="1405586"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 name="Oval 95"/>
            <p:cNvSpPr>
              <a:spLocks noChangeAspect="1" noChangeArrowheads="1"/>
            </p:cNvSpPr>
            <p:nvPr userDrawn="1"/>
          </p:nvSpPr>
          <p:spPr bwMode="auto">
            <a:xfrm>
              <a:off x="1518671"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 name="Oval 96"/>
            <p:cNvSpPr>
              <a:spLocks noChangeAspect="1" noChangeArrowheads="1"/>
            </p:cNvSpPr>
            <p:nvPr userDrawn="1"/>
          </p:nvSpPr>
          <p:spPr bwMode="auto">
            <a:xfrm>
              <a:off x="1630247"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 name="Oval 97"/>
            <p:cNvSpPr>
              <a:spLocks noChangeAspect="1" noChangeArrowheads="1"/>
            </p:cNvSpPr>
            <p:nvPr userDrawn="1"/>
          </p:nvSpPr>
          <p:spPr bwMode="auto">
            <a:xfrm>
              <a:off x="1743330"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 name="Oval 98"/>
            <p:cNvSpPr>
              <a:spLocks noChangeAspect="1" noChangeArrowheads="1"/>
            </p:cNvSpPr>
            <p:nvPr userDrawn="1"/>
          </p:nvSpPr>
          <p:spPr bwMode="auto">
            <a:xfrm>
              <a:off x="1854906"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 name="Oval 99"/>
            <p:cNvSpPr>
              <a:spLocks noChangeAspect="1" noChangeArrowheads="1"/>
            </p:cNvSpPr>
            <p:nvPr userDrawn="1"/>
          </p:nvSpPr>
          <p:spPr bwMode="auto">
            <a:xfrm>
              <a:off x="1967990"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 name="Oval 100"/>
            <p:cNvSpPr>
              <a:spLocks noChangeAspect="1" noChangeArrowheads="1"/>
            </p:cNvSpPr>
            <p:nvPr userDrawn="1"/>
          </p:nvSpPr>
          <p:spPr bwMode="auto">
            <a:xfrm>
              <a:off x="2079566"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 name="Oval 101"/>
            <p:cNvSpPr>
              <a:spLocks noChangeAspect="1" noChangeArrowheads="1"/>
            </p:cNvSpPr>
            <p:nvPr userDrawn="1"/>
          </p:nvSpPr>
          <p:spPr bwMode="auto">
            <a:xfrm>
              <a:off x="2192650"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 name="Oval 102"/>
            <p:cNvSpPr>
              <a:spLocks noChangeAspect="1" noChangeArrowheads="1"/>
            </p:cNvSpPr>
            <p:nvPr userDrawn="1"/>
          </p:nvSpPr>
          <p:spPr bwMode="auto">
            <a:xfrm>
              <a:off x="2304226"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 name="Oval 103"/>
            <p:cNvSpPr>
              <a:spLocks noChangeAspect="1" noChangeArrowheads="1"/>
            </p:cNvSpPr>
            <p:nvPr userDrawn="1"/>
          </p:nvSpPr>
          <p:spPr bwMode="auto">
            <a:xfrm>
              <a:off x="2417310"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 name="Oval 104"/>
            <p:cNvSpPr>
              <a:spLocks noChangeAspect="1" noChangeArrowheads="1"/>
            </p:cNvSpPr>
            <p:nvPr userDrawn="1"/>
          </p:nvSpPr>
          <p:spPr bwMode="auto">
            <a:xfrm>
              <a:off x="3091289"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 name="Oval 105"/>
            <p:cNvSpPr>
              <a:spLocks noChangeAspect="1" noChangeArrowheads="1"/>
            </p:cNvSpPr>
            <p:nvPr userDrawn="1"/>
          </p:nvSpPr>
          <p:spPr bwMode="auto">
            <a:xfrm>
              <a:off x="3204373"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 name="Oval 106"/>
            <p:cNvSpPr>
              <a:spLocks noChangeAspect="1" noChangeArrowheads="1"/>
            </p:cNvSpPr>
            <p:nvPr userDrawn="1"/>
          </p:nvSpPr>
          <p:spPr bwMode="auto">
            <a:xfrm>
              <a:off x="3315949"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 name="Oval 107"/>
            <p:cNvSpPr>
              <a:spLocks noChangeAspect="1" noChangeArrowheads="1"/>
            </p:cNvSpPr>
            <p:nvPr userDrawn="1"/>
          </p:nvSpPr>
          <p:spPr bwMode="auto">
            <a:xfrm>
              <a:off x="3429033"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 name="Oval 108"/>
            <p:cNvSpPr>
              <a:spLocks noChangeAspect="1" noChangeArrowheads="1"/>
            </p:cNvSpPr>
            <p:nvPr userDrawn="1"/>
          </p:nvSpPr>
          <p:spPr bwMode="auto">
            <a:xfrm>
              <a:off x="3540609"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 name="Oval 109"/>
            <p:cNvSpPr>
              <a:spLocks noChangeAspect="1" noChangeArrowheads="1"/>
            </p:cNvSpPr>
            <p:nvPr userDrawn="1"/>
          </p:nvSpPr>
          <p:spPr bwMode="auto">
            <a:xfrm>
              <a:off x="3653693"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 name="Oval 110"/>
            <p:cNvSpPr>
              <a:spLocks noChangeAspect="1" noChangeArrowheads="1"/>
            </p:cNvSpPr>
            <p:nvPr userDrawn="1"/>
          </p:nvSpPr>
          <p:spPr bwMode="auto">
            <a:xfrm>
              <a:off x="3765269"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 name="Oval 111"/>
            <p:cNvSpPr>
              <a:spLocks noChangeAspect="1" noChangeArrowheads="1"/>
            </p:cNvSpPr>
            <p:nvPr userDrawn="1"/>
          </p:nvSpPr>
          <p:spPr bwMode="auto">
            <a:xfrm>
              <a:off x="5675631"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 name="Oval 112"/>
            <p:cNvSpPr>
              <a:spLocks noChangeAspect="1" noChangeArrowheads="1"/>
            </p:cNvSpPr>
            <p:nvPr userDrawn="1"/>
          </p:nvSpPr>
          <p:spPr bwMode="auto">
            <a:xfrm>
              <a:off x="6238035"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 name="Oval 113"/>
            <p:cNvSpPr>
              <a:spLocks noChangeAspect="1" noChangeArrowheads="1"/>
            </p:cNvSpPr>
            <p:nvPr userDrawn="1"/>
          </p:nvSpPr>
          <p:spPr bwMode="auto">
            <a:xfrm>
              <a:off x="6349611"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 name="Oval 114"/>
            <p:cNvSpPr>
              <a:spLocks noChangeAspect="1" noChangeArrowheads="1"/>
            </p:cNvSpPr>
            <p:nvPr userDrawn="1"/>
          </p:nvSpPr>
          <p:spPr bwMode="auto">
            <a:xfrm>
              <a:off x="6462694"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 name="Oval 115"/>
            <p:cNvSpPr>
              <a:spLocks noChangeAspect="1" noChangeArrowheads="1"/>
            </p:cNvSpPr>
            <p:nvPr userDrawn="1"/>
          </p:nvSpPr>
          <p:spPr bwMode="auto">
            <a:xfrm>
              <a:off x="6574270"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 name="Oval 116"/>
            <p:cNvSpPr>
              <a:spLocks noChangeAspect="1" noChangeArrowheads="1"/>
            </p:cNvSpPr>
            <p:nvPr userDrawn="1"/>
          </p:nvSpPr>
          <p:spPr bwMode="auto">
            <a:xfrm>
              <a:off x="6687355"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 name="Oval 117"/>
            <p:cNvSpPr>
              <a:spLocks noChangeAspect="1" noChangeArrowheads="1"/>
            </p:cNvSpPr>
            <p:nvPr userDrawn="1"/>
          </p:nvSpPr>
          <p:spPr bwMode="auto">
            <a:xfrm>
              <a:off x="6798931"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 name="Oval 118"/>
            <p:cNvSpPr>
              <a:spLocks noChangeAspect="1" noChangeArrowheads="1"/>
            </p:cNvSpPr>
            <p:nvPr userDrawn="1"/>
          </p:nvSpPr>
          <p:spPr bwMode="auto">
            <a:xfrm>
              <a:off x="6912014"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 name="Oval 119"/>
            <p:cNvSpPr>
              <a:spLocks noChangeAspect="1" noChangeArrowheads="1"/>
            </p:cNvSpPr>
            <p:nvPr userDrawn="1"/>
          </p:nvSpPr>
          <p:spPr bwMode="auto">
            <a:xfrm>
              <a:off x="7023590"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 name="Oval 120"/>
            <p:cNvSpPr>
              <a:spLocks noChangeAspect="1" noChangeArrowheads="1"/>
            </p:cNvSpPr>
            <p:nvPr userDrawn="1"/>
          </p:nvSpPr>
          <p:spPr bwMode="auto">
            <a:xfrm>
              <a:off x="7136674"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 name="Oval 121"/>
            <p:cNvSpPr>
              <a:spLocks noChangeAspect="1" noChangeArrowheads="1"/>
            </p:cNvSpPr>
            <p:nvPr userDrawn="1"/>
          </p:nvSpPr>
          <p:spPr bwMode="auto">
            <a:xfrm>
              <a:off x="7248250"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 name="Oval 122"/>
            <p:cNvSpPr>
              <a:spLocks noChangeAspect="1" noChangeArrowheads="1"/>
            </p:cNvSpPr>
            <p:nvPr userDrawn="1"/>
          </p:nvSpPr>
          <p:spPr bwMode="auto">
            <a:xfrm>
              <a:off x="7585994"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 name="Oval 123"/>
            <p:cNvSpPr>
              <a:spLocks noChangeAspect="1" noChangeArrowheads="1"/>
            </p:cNvSpPr>
            <p:nvPr userDrawn="1"/>
          </p:nvSpPr>
          <p:spPr bwMode="auto">
            <a:xfrm>
              <a:off x="1405586"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 name="Oval 124"/>
            <p:cNvSpPr>
              <a:spLocks noChangeAspect="1" noChangeArrowheads="1"/>
            </p:cNvSpPr>
            <p:nvPr userDrawn="1"/>
          </p:nvSpPr>
          <p:spPr bwMode="auto">
            <a:xfrm>
              <a:off x="1518671"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 name="Oval 125"/>
            <p:cNvSpPr>
              <a:spLocks noChangeAspect="1" noChangeArrowheads="1"/>
            </p:cNvSpPr>
            <p:nvPr userDrawn="1"/>
          </p:nvSpPr>
          <p:spPr bwMode="auto">
            <a:xfrm>
              <a:off x="1630247"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7" name="Oval 126"/>
            <p:cNvSpPr>
              <a:spLocks noChangeAspect="1" noChangeArrowheads="1"/>
            </p:cNvSpPr>
            <p:nvPr userDrawn="1"/>
          </p:nvSpPr>
          <p:spPr bwMode="auto">
            <a:xfrm>
              <a:off x="174333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8" name="Oval 127"/>
            <p:cNvSpPr>
              <a:spLocks noChangeAspect="1" noChangeArrowheads="1"/>
            </p:cNvSpPr>
            <p:nvPr userDrawn="1"/>
          </p:nvSpPr>
          <p:spPr bwMode="auto">
            <a:xfrm>
              <a:off x="1854906"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9" name="Oval 128"/>
            <p:cNvSpPr>
              <a:spLocks noChangeAspect="1" noChangeArrowheads="1"/>
            </p:cNvSpPr>
            <p:nvPr userDrawn="1"/>
          </p:nvSpPr>
          <p:spPr bwMode="auto">
            <a:xfrm>
              <a:off x="1967990"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0" name="Oval 129"/>
            <p:cNvSpPr>
              <a:spLocks noChangeAspect="1" noChangeArrowheads="1"/>
            </p:cNvSpPr>
            <p:nvPr userDrawn="1"/>
          </p:nvSpPr>
          <p:spPr bwMode="auto">
            <a:xfrm>
              <a:off x="2079566"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1" name="Oval 130"/>
            <p:cNvSpPr>
              <a:spLocks noChangeAspect="1" noChangeArrowheads="1"/>
            </p:cNvSpPr>
            <p:nvPr userDrawn="1"/>
          </p:nvSpPr>
          <p:spPr bwMode="auto">
            <a:xfrm>
              <a:off x="219265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2" name="Oval 131"/>
            <p:cNvSpPr>
              <a:spLocks noChangeAspect="1" noChangeArrowheads="1"/>
            </p:cNvSpPr>
            <p:nvPr userDrawn="1"/>
          </p:nvSpPr>
          <p:spPr bwMode="auto">
            <a:xfrm>
              <a:off x="2304226"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3" name="Oval 132"/>
            <p:cNvSpPr>
              <a:spLocks noChangeAspect="1" noChangeArrowheads="1"/>
            </p:cNvSpPr>
            <p:nvPr userDrawn="1"/>
          </p:nvSpPr>
          <p:spPr bwMode="auto">
            <a:xfrm>
              <a:off x="2417310"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4" name="Oval 133"/>
            <p:cNvSpPr>
              <a:spLocks noChangeAspect="1" noChangeArrowheads="1"/>
            </p:cNvSpPr>
            <p:nvPr userDrawn="1"/>
          </p:nvSpPr>
          <p:spPr bwMode="auto">
            <a:xfrm>
              <a:off x="2528886"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5" name="Oval 134"/>
            <p:cNvSpPr>
              <a:spLocks noChangeAspect="1" noChangeArrowheads="1"/>
            </p:cNvSpPr>
            <p:nvPr userDrawn="1"/>
          </p:nvSpPr>
          <p:spPr bwMode="auto">
            <a:xfrm>
              <a:off x="3091289"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6" name="Oval 135"/>
            <p:cNvSpPr>
              <a:spLocks noChangeAspect="1" noChangeArrowheads="1"/>
            </p:cNvSpPr>
            <p:nvPr userDrawn="1"/>
          </p:nvSpPr>
          <p:spPr bwMode="auto">
            <a:xfrm>
              <a:off x="3204373"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7" name="Oval 136"/>
            <p:cNvSpPr>
              <a:spLocks noChangeAspect="1" noChangeArrowheads="1"/>
            </p:cNvSpPr>
            <p:nvPr userDrawn="1"/>
          </p:nvSpPr>
          <p:spPr bwMode="auto">
            <a:xfrm>
              <a:off x="3315949"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8" name="Oval 137"/>
            <p:cNvSpPr>
              <a:spLocks noChangeAspect="1" noChangeArrowheads="1"/>
            </p:cNvSpPr>
            <p:nvPr userDrawn="1"/>
          </p:nvSpPr>
          <p:spPr bwMode="auto">
            <a:xfrm>
              <a:off x="3429033"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9" name="Oval 138"/>
            <p:cNvSpPr>
              <a:spLocks noChangeAspect="1" noChangeArrowheads="1"/>
            </p:cNvSpPr>
            <p:nvPr userDrawn="1"/>
          </p:nvSpPr>
          <p:spPr bwMode="auto">
            <a:xfrm>
              <a:off x="3540609"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0" name="Oval 139"/>
            <p:cNvSpPr>
              <a:spLocks noChangeAspect="1" noChangeArrowheads="1"/>
            </p:cNvSpPr>
            <p:nvPr userDrawn="1"/>
          </p:nvSpPr>
          <p:spPr bwMode="auto">
            <a:xfrm>
              <a:off x="3653693"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1" name="Oval 140"/>
            <p:cNvSpPr>
              <a:spLocks noChangeAspect="1" noChangeArrowheads="1"/>
            </p:cNvSpPr>
            <p:nvPr userDrawn="1"/>
          </p:nvSpPr>
          <p:spPr bwMode="auto">
            <a:xfrm>
              <a:off x="3765269"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2" name="Oval 141"/>
            <p:cNvSpPr>
              <a:spLocks noChangeAspect="1" noChangeArrowheads="1"/>
            </p:cNvSpPr>
            <p:nvPr userDrawn="1"/>
          </p:nvSpPr>
          <p:spPr bwMode="auto">
            <a:xfrm>
              <a:off x="4776992"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3" name="Oval 142"/>
            <p:cNvSpPr>
              <a:spLocks noChangeAspect="1" noChangeArrowheads="1"/>
            </p:cNvSpPr>
            <p:nvPr userDrawn="1"/>
          </p:nvSpPr>
          <p:spPr bwMode="auto">
            <a:xfrm>
              <a:off x="4888568"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4" name="Oval 143"/>
            <p:cNvSpPr>
              <a:spLocks noChangeAspect="1" noChangeArrowheads="1"/>
            </p:cNvSpPr>
            <p:nvPr userDrawn="1"/>
          </p:nvSpPr>
          <p:spPr bwMode="auto">
            <a:xfrm>
              <a:off x="5001652"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5" name="Oval 144"/>
            <p:cNvSpPr>
              <a:spLocks noChangeAspect="1" noChangeArrowheads="1"/>
            </p:cNvSpPr>
            <p:nvPr userDrawn="1"/>
          </p:nvSpPr>
          <p:spPr bwMode="auto">
            <a:xfrm>
              <a:off x="5562548"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6" name="Oval 145"/>
            <p:cNvSpPr>
              <a:spLocks noChangeAspect="1" noChangeArrowheads="1"/>
            </p:cNvSpPr>
            <p:nvPr userDrawn="1"/>
          </p:nvSpPr>
          <p:spPr bwMode="auto">
            <a:xfrm>
              <a:off x="6013375"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7" name="Oval 146"/>
            <p:cNvSpPr>
              <a:spLocks noChangeAspect="1" noChangeArrowheads="1"/>
            </p:cNvSpPr>
            <p:nvPr userDrawn="1"/>
          </p:nvSpPr>
          <p:spPr bwMode="auto">
            <a:xfrm>
              <a:off x="6124951"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8" name="Oval 147"/>
            <p:cNvSpPr>
              <a:spLocks noChangeAspect="1" noChangeArrowheads="1"/>
            </p:cNvSpPr>
            <p:nvPr userDrawn="1"/>
          </p:nvSpPr>
          <p:spPr bwMode="auto">
            <a:xfrm>
              <a:off x="6238035"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9" name="Oval 148"/>
            <p:cNvSpPr>
              <a:spLocks noChangeAspect="1" noChangeArrowheads="1"/>
            </p:cNvSpPr>
            <p:nvPr userDrawn="1"/>
          </p:nvSpPr>
          <p:spPr bwMode="auto">
            <a:xfrm>
              <a:off x="6349611"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0" name="Oval 149"/>
            <p:cNvSpPr>
              <a:spLocks noChangeAspect="1" noChangeArrowheads="1"/>
            </p:cNvSpPr>
            <p:nvPr userDrawn="1"/>
          </p:nvSpPr>
          <p:spPr bwMode="auto">
            <a:xfrm>
              <a:off x="6462694"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1" name="Oval 150"/>
            <p:cNvSpPr>
              <a:spLocks noChangeAspect="1" noChangeArrowheads="1"/>
            </p:cNvSpPr>
            <p:nvPr userDrawn="1"/>
          </p:nvSpPr>
          <p:spPr bwMode="auto">
            <a:xfrm>
              <a:off x="657427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2" name="Oval 151"/>
            <p:cNvSpPr>
              <a:spLocks noChangeAspect="1" noChangeArrowheads="1"/>
            </p:cNvSpPr>
            <p:nvPr userDrawn="1"/>
          </p:nvSpPr>
          <p:spPr bwMode="auto">
            <a:xfrm>
              <a:off x="6687355"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3" name="Oval 152"/>
            <p:cNvSpPr>
              <a:spLocks noChangeAspect="1" noChangeArrowheads="1"/>
            </p:cNvSpPr>
            <p:nvPr userDrawn="1"/>
          </p:nvSpPr>
          <p:spPr bwMode="auto">
            <a:xfrm>
              <a:off x="6798931"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4" name="Oval 153"/>
            <p:cNvSpPr>
              <a:spLocks noChangeAspect="1" noChangeArrowheads="1"/>
            </p:cNvSpPr>
            <p:nvPr userDrawn="1"/>
          </p:nvSpPr>
          <p:spPr bwMode="auto">
            <a:xfrm>
              <a:off x="6912014"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5" name="Oval 154"/>
            <p:cNvSpPr>
              <a:spLocks noChangeAspect="1" noChangeArrowheads="1"/>
            </p:cNvSpPr>
            <p:nvPr userDrawn="1"/>
          </p:nvSpPr>
          <p:spPr bwMode="auto">
            <a:xfrm>
              <a:off x="702359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6" name="Oval 155"/>
            <p:cNvSpPr>
              <a:spLocks noChangeAspect="1" noChangeArrowheads="1"/>
            </p:cNvSpPr>
            <p:nvPr userDrawn="1"/>
          </p:nvSpPr>
          <p:spPr bwMode="auto">
            <a:xfrm>
              <a:off x="7136674"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7" name="Oval 156"/>
            <p:cNvSpPr>
              <a:spLocks noChangeAspect="1" noChangeArrowheads="1"/>
            </p:cNvSpPr>
            <p:nvPr userDrawn="1"/>
          </p:nvSpPr>
          <p:spPr bwMode="auto">
            <a:xfrm>
              <a:off x="7248250"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8" name="Oval 157"/>
            <p:cNvSpPr>
              <a:spLocks noChangeAspect="1" noChangeArrowheads="1"/>
            </p:cNvSpPr>
            <p:nvPr userDrawn="1"/>
          </p:nvSpPr>
          <p:spPr bwMode="auto">
            <a:xfrm>
              <a:off x="7361334"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9" name="Oval 158"/>
            <p:cNvSpPr>
              <a:spLocks noChangeAspect="1" noChangeArrowheads="1"/>
            </p:cNvSpPr>
            <p:nvPr userDrawn="1"/>
          </p:nvSpPr>
          <p:spPr bwMode="auto">
            <a:xfrm>
              <a:off x="747291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0" name="Oval 159"/>
            <p:cNvSpPr>
              <a:spLocks noChangeAspect="1" noChangeArrowheads="1"/>
            </p:cNvSpPr>
            <p:nvPr userDrawn="1"/>
          </p:nvSpPr>
          <p:spPr bwMode="auto">
            <a:xfrm>
              <a:off x="7585994"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1" name="Oval 160"/>
            <p:cNvSpPr>
              <a:spLocks noChangeAspect="1" noChangeArrowheads="1"/>
            </p:cNvSpPr>
            <p:nvPr userDrawn="1"/>
          </p:nvSpPr>
          <p:spPr bwMode="auto">
            <a:xfrm>
              <a:off x="7697570"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2" name="Oval 161"/>
            <p:cNvSpPr>
              <a:spLocks noChangeAspect="1" noChangeArrowheads="1"/>
            </p:cNvSpPr>
            <p:nvPr userDrawn="1"/>
          </p:nvSpPr>
          <p:spPr bwMode="auto">
            <a:xfrm>
              <a:off x="7810653"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3" name="Oval 162"/>
            <p:cNvSpPr>
              <a:spLocks noChangeAspect="1" noChangeArrowheads="1"/>
            </p:cNvSpPr>
            <p:nvPr userDrawn="1"/>
          </p:nvSpPr>
          <p:spPr bwMode="auto">
            <a:xfrm>
              <a:off x="844691"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4" name="Oval 163"/>
            <p:cNvSpPr>
              <a:spLocks noChangeAspect="1" noChangeArrowheads="1"/>
            </p:cNvSpPr>
            <p:nvPr userDrawn="1"/>
          </p:nvSpPr>
          <p:spPr bwMode="auto">
            <a:xfrm>
              <a:off x="956267"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5" name="Oval 164"/>
            <p:cNvSpPr>
              <a:spLocks noChangeAspect="1" noChangeArrowheads="1"/>
            </p:cNvSpPr>
            <p:nvPr userDrawn="1"/>
          </p:nvSpPr>
          <p:spPr bwMode="auto">
            <a:xfrm>
              <a:off x="106935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6" name="Oval 165"/>
            <p:cNvSpPr>
              <a:spLocks noChangeAspect="1" noChangeArrowheads="1"/>
            </p:cNvSpPr>
            <p:nvPr userDrawn="1"/>
          </p:nvSpPr>
          <p:spPr bwMode="auto">
            <a:xfrm>
              <a:off x="1180927"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7" name="Oval 166"/>
            <p:cNvSpPr>
              <a:spLocks noChangeAspect="1" noChangeArrowheads="1"/>
            </p:cNvSpPr>
            <p:nvPr userDrawn="1"/>
          </p:nvSpPr>
          <p:spPr bwMode="auto">
            <a:xfrm>
              <a:off x="129401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8" name="Oval 167"/>
            <p:cNvSpPr>
              <a:spLocks noChangeAspect="1" noChangeArrowheads="1"/>
            </p:cNvSpPr>
            <p:nvPr userDrawn="1"/>
          </p:nvSpPr>
          <p:spPr bwMode="auto">
            <a:xfrm>
              <a:off x="1405586"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9" name="Oval 168"/>
            <p:cNvSpPr>
              <a:spLocks noChangeAspect="1" noChangeArrowheads="1"/>
            </p:cNvSpPr>
            <p:nvPr userDrawn="1"/>
          </p:nvSpPr>
          <p:spPr bwMode="auto">
            <a:xfrm>
              <a:off x="151867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0" name="Oval 169"/>
            <p:cNvSpPr>
              <a:spLocks noChangeAspect="1" noChangeArrowheads="1"/>
            </p:cNvSpPr>
            <p:nvPr userDrawn="1"/>
          </p:nvSpPr>
          <p:spPr bwMode="auto">
            <a:xfrm>
              <a:off x="1630247"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1" name="Oval 170"/>
            <p:cNvSpPr>
              <a:spLocks noChangeAspect="1" noChangeArrowheads="1"/>
            </p:cNvSpPr>
            <p:nvPr userDrawn="1"/>
          </p:nvSpPr>
          <p:spPr bwMode="auto">
            <a:xfrm>
              <a:off x="174333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2" name="Oval 171"/>
            <p:cNvSpPr>
              <a:spLocks noChangeAspect="1" noChangeArrowheads="1"/>
            </p:cNvSpPr>
            <p:nvPr userDrawn="1"/>
          </p:nvSpPr>
          <p:spPr bwMode="auto">
            <a:xfrm>
              <a:off x="1854906"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3" name="Oval 172"/>
            <p:cNvSpPr>
              <a:spLocks noChangeAspect="1" noChangeArrowheads="1"/>
            </p:cNvSpPr>
            <p:nvPr userDrawn="1"/>
          </p:nvSpPr>
          <p:spPr bwMode="auto">
            <a:xfrm>
              <a:off x="196799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4" name="Oval 173"/>
            <p:cNvSpPr>
              <a:spLocks noChangeAspect="1" noChangeArrowheads="1"/>
            </p:cNvSpPr>
            <p:nvPr userDrawn="1"/>
          </p:nvSpPr>
          <p:spPr bwMode="auto">
            <a:xfrm>
              <a:off x="2079566"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5" name="Oval 174"/>
            <p:cNvSpPr>
              <a:spLocks noChangeAspect="1" noChangeArrowheads="1"/>
            </p:cNvSpPr>
            <p:nvPr userDrawn="1"/>
          </p:nvSpPr>
          <p:spPr bwMode="auto">
            <a:xfrm>
              <a:off x="219265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6" name="Oval 175"/>
            <p:cNvSpPr>
              <a:spLocks noChangeAspect="1" noChangeArrowheads="1"/>
            </p:cNvSpPr>
            <p:nvPr userDrawn="1"/>
          </p:nvSpPr>
          <p:spPr bwMode="auto">
            <a:xfrm>
              <a:off x="2304226"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7" name="Oval 176"/>
            <p:cNvSpPr>
              <a:spLocks noChangeAspect="1" noChangeArrowheads="1"/>
            </p:cNvSpPr>
            <p:nvPr userDrawn="1"/>
          </p:nvSpPr>
          <p:spPr bwMode="auto">
            <a:xfrm>
              <a:off x="241731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8" name="Oval 177"/>
            <p:cNvSpPr>
              <a:spLocks noChangeAspect="1" noChangeArrowheads="1"/>
            </p:cNvSpPr>
            <p:nvPr userDrawn="1"/>
          </p:nvSpPr>
          <p:spPr bwMode="auto">
            <a:xfrm>
              <a:off x="2528886"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9" name="Oval 178"/>
            <p:cNvSpPr>
              <a:spLocks noChangeAspect="1" noChangeArrowheads="1"/>
            </p:cNvSpPr>
            <p:nvPr userDrawn="1"/>
          </p:nvSpPr>
          <p:spPr bwMode="auto">
            <a:xfrm>
              <a:off x="2641969"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0" name="Oval 179"/>
            <p:cNvSpPr>
              <a:spLocks noChangeAspect="1" noChangeArrowheads="1"/>
            </p:cNvSpPr>
            <p:nvPr userDrawn="1"/>
          </p:nvSpPr>
          <p:spPr bwMode="auto">
            <a:xfrm>
              <a:off x="2753545"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1" name="Oval 180"/>
            <p:cNvSpPr>
              <a:spLocks noChangeAspect="1" noChangeArrowheads="1"/>
            </p:cNvSpPr>
            <p:nvPr userDrawn="1"/>
          </p:nvSpPr>
          <p:spPr bwMode="auto">
            <a:xfrm>
              <a:off x="3204373"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2" name="Oval 181"/>
            <p:cNvSpPr>
              <a:spLocks noChangeAspect="1" noChangeArrowheads="1"/>
            </p:cNvSpPr>
            <p:nvPr userDrawn="1"/>
          </p:nvSpPr>
          <p:spPr bwMode="auto">
            <a:xfrm>
              <a:off x="3315949"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3" name="Oval 182"/>
            <p:cNvSpPr>
              <a:spLocks noChangeAspect="1" noChangeArrowheads="1"/>
            </p:cNvSpPr>
            <p:nvPr userDrawn="1"/>
          </p:nvSpPr>
          <p:spPr bwMode="auto">
            <a:xfrm>
              <a:off x="3429033"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4" name="Oval 183"/>
            <p:cNvSpPr>
              <a:spLocks noChangeAspect="1" noChangeArrowheads="1"/>
            </p:cNvSpPr>
            <p:nvPr userDrawn="1"/>
          </p:nvSpPr>
          <p:spPr bwMode="auto">
            <a:xfrm>
              <a:off x="3540609"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5" name="Oval 184"/>
            <p:cNvSpPr>
              <a:spLocks noChangeAspect="1" noChangeArrowheads="1"/>
            </p:cNvSpPr>
            <p:nvPr userDrawn="1"/>
          </p:nvSpPr>
          <p:spPr bwMode="auto">
            <a:xfrm>
              <a:off x="3653693"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6" name="Oval 185"/>
            <p:cNvSpPr>
              <a:spLocks noChangeAspect="1" noChangeArrowheads="1"/>
            </p:cNvSpPr>
            <p:nvPr userDrawn="1"/>
          </p:nvSpPr>
          <p:spPr bwMode="auto">
            <a:xfrm>
              <a:off x="4663908"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7" name="Oval 186"/>
            <p:cNvSpPr>
              <a:spLocks noChangeAspect="1" noChangeArrowheads="1"/>
            </p:cNvSpPr>
            <p:nvPr userDrawn="1"/>
          </p:nvSpPr>
          <p:spPr bwMode="auto">
            <a:xfrm>
              <a:off x="4776992"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8" name="Oval 187"/>
            <p:cNvSpPr>
              <a:spLocks noChangeAspect="1" noChangeArrowheads="1"/>
            </p:cNvSpPr>
            <p:nvPr userDrawn="1"/>
          </p:nvSpPr>
          <p:spPr bwMode="auto">
            <a:xfrm>
              <a:off x="4888568"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9" name="Oval 188"/>
            <p:cNvSpPr>
              <a:spLocks noChangeAspect="1" noChangeArrowheads="1"/>
            </p:cNvSpPr>
            <p:nvPr userDrawn="1"/>
          </p:nvSpPr>
          <p:spPr bwMode="auto">
            <a:xfrm>
              <a:off x="5001652"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0" name="Oval 189"/>
            <p:cNvSpPr>
              <a:spLocks noChangeAspect="1" noChangeArrowheads="1"/>
            </p:cNvSpPr>
            <p:nvPr userDrawn="1"/>
          </p:nvSpPr>
          <p:spPr bwMode="auto">
            <a:xfrm>
              <a:off x="5113228"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1" name="Oval 190"/>
            <p:cNvSpPr>
              <a:spLocks noChangeAspect="1" noChangeArrowheads="1"/>
            </p:cNvSpPr>
            <p:nvPr userDrawn="1"/>
          </p:nvSpPr>
          <p:spPr bwMode="auto">
            <a:xfrm>
              <a:off x="5562548"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2" name="Oval 191"/>
            <p:cNvSpPr>
              <a:spLocks noChangeAspect="1" noChangeArrowheads="1"/>
            </p:cNvSpPr>
            <p:nvPr userDrawn="1"/>
          </p:nvSpPr>
          <p:spPr bwMode="auto">
            <a:xfrm>
              <a:off x="5675631"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3" name="Oval 192"/>
            <p:cNvSpPr>
              <a:spLocks noChangeAspect="1" noChangeArrowheads="1"/>
            </p:cNvSpPr>
            <p:nvPr userDrawn="1"/>
          </p:nvSpPr>
          <p:spPr bwMode="auto">
            <a:xfrm>
              <a:off x="5787207"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4" name="Oval 193"/>
            <p:cNvSpPr>
              <a:spLocks noChangeAspect="1" noChangeArrowheads="1"/>
            </p:cNvSpPr>
            <p:nvPr userDrawn="1"/>
          </p:nvSpPr>
          <p:spPr bwMode="auto">
            <a:xfrm>
              <a:off x="590029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5" name="Oval 194"/>
            <p:cNvSpPr>
              <a:spLocks noChangeAspect="1" noChangeArrowheads="1"/>
            </p:cNvSpPr>
            <p:nvPr userDrawn="1"/>
          </p:nvSpPr>
          <p:spPr bwMode="auto">
            <a:xfrm>
              <a:off x="6013375"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6" name="Oval 195"/>
            <p:cNvSpPr>
              <a:spLocks noChangeAspect="1" noChangeArrowheads="1"/>
            </p:cNvSpPr>
            <p:nvPr userDrawn="1"/>
          </p:nvSpPr>
          <p:spPr bwMode="auto">
            <a:xfrm>
              <a:off x="6124951"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7" name="Oval 196"/>
            <p:cNvSpPr>
              <a:spLocks noChangeAspect="1" noChangeArrowheads="1"/>
            </p:cNvSpPr>
            <p:nvPr userDrawn="1"/>
          </p:nvSpPr>
          <p:spPr bwMode="auto">
            <a:xfrm>
              <a:off x="6238035"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8" name="Oval 197"/>
            <p:cNvSpPr>
              <a:spLocks noChangeAspect="1" noChangeArrowheads="1"/>
            </p:cNvSpPr>
            <p:nvPr userDrawn="1"/>
          </p:nvSpPr>
          <p:spPr bwMode="auto">
            <a:xfrm>
              <a:off x="634961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9" name="Oval 198"/>
            <p:cNvSpPr>
              <a:spLocks noChangeAspect="1" noChangeArrowheads="1"/>
            </p:cNvSpPr>
            <p:nvPr userDrawn="1"/>
          </p:nvSpPr>
          <p:spPr bwMode="auto">
            <a:xfrm>
              <a:off x="6462694"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0" name="Oval 199"/>
            <p:cNvSpPr>
              <a:spLocks noChangeAspect="1" noChangeArrowheads="1"/>
            </p:cNvSpPr>
            <p:nvPr userDrawn="1"/>
          </p:nvSpPr>
          <p:spPr bwMode="auto">
            <a:xfrm>
              <a:off x="657427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1" name="Oval 200"/>
            <p:cNvSpPr>
              <a:spLocks noChangeAspect="1" noChangeArrowheads="1"/>
            </p:cNvSpPr>
            <p:nvPr userDrawn="1"/>
          </p:nvSpPr>
          <p:spPr bwMode="auto">
            <a:xfrm>
              <a:off x="6687355"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2" name="Oval 201"/>
            <p:cNvSpPr>
              <a:spLocks noChangeAspect="1" noChangeArrowheads="1"/>
            </p:cNvSpPr>
            <p:nvPr userDrawn="1"/>
          </p:nvSpPr>
          <p:spPr bwMode="auto">
            <a:xfrm>
              <a:off x="679893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3" name="Oval 202"/>
            <p:cNvSpPr>
              <a:spLocks noChangeAspect="1" noChangeArrowheads="1"/>
            </p:cNvSpPr>
            <p:nvPr userDrawn="1"/>
          </p:nvSpPr>
          <p:spPr bwMode="auto">
            <a:xfrm>
              <a:off x="6912014"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4" name="Oval 203"/>
            <p:cNvSpPr>
              <a:spLocks noChangeAspect="1" noChangeArrowheads="1"/>
            </p:cNvSpPr>
            <p:nvPr userDrawn="1"/>
          </p:nvSpPr>
          <p:spPr bwMode="auto">
            <a:xfrm>
              <a:off x="702359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5" name="Oval 204"/>
            <p:cNvSpPr>
              <a:spLocks noChangeAspect="1" noChangeArrowheads="1"/>
            </p:cNvSpPr>
            <p:nvPr userDrawn="1"/>
          </p:nvSpPr>
          <p:spPr bwMode="auto">
            <a:xfrm>
              <a:off x="7136674"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6" name="Oval 205"/>
            <p:cNvSpPr>
              <a:spLocks noChangeAspect="1" noChangeArrowheads="1"/>
            </p:cNvSpPr>
            <p:nvPr userDrawn="1"/>
          </p:nvSpPr>
          <p:spPr bwMode="auto">
            <a:xfrm>
              <a:off x="724825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7" name="Oval 206"/>
            <p:cNvSpPr>
              <a:spLocks noChangeAspect="1" noChangeArrowheads="1"/>
            </p:cNvSpPr>
            <p:nvPr userDrawn="1"/>
          </p:nvSpPr>
          <p:spPr bwMode="auto">
            <a:xfrm>
              <a:off x="7361334"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8" name="Oval 207"/>
            <p:cNvSpPr>
              <a:spLocks noChangeAspect="1" noChangeArrowheads="1"/>
            </p:cNvSpPr>
            <p:nvPr userDrawn="1"/>
          </p:nvSpPr>
          <p:spPr bwMode="auto">
            <a:xfrm>
              <a:off x="747291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9" name="Oval 208"/>
            <p:cNvSpPr>
              <a:spLocks noChangeAspect="1" noChangeArrowheads="1"/>
            </p:cNvSpPr>
            <p:nvPr userDrawn="1"/>
          </p:nvSpPr>
          <p:spPr bwMode="auto">
            <a:xfrm>
              <a:off x="7585994"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0" name="Oval 209"/>
            <p:cNvSpPr>
              <a:spLocks noChangeAspect="1" noChangeArrowheads="1"/>
            </p:cNvSpPr>
            <p:nvPr userDrawn="1"/>
          </p:nvSpPr>
          <p:spPr bwMode="auto">
            <a:xfrm>
              <a:off x="769757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1" name="Oval 210"/>
            <p:cNvSpPr>
              <a:spLocks noChangeAspect="1" noChangeArrowheads="1"/>
            </p:cNvSpPr>
            <p:nvPr userDrawn="1"/>
          </p:nvSpPr>
          <p:spPr bwMode="auto">
            <a:xfrm>
              <a:off x="7810653"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2" name="Oval 211"/>
            <p:cNvSpPr>
              <a:spLocks noChangeAspect="1" noChangeArrowheads="1"/>
            </p:cNvSpPr>
            <p:nvPr userDrawn="1"/>
          </p:nvSpPr>
          <p:spPr bwMode="auto">
            <a:xfrm>
              <a:off x="7922229"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3" name="Oval 212"/>
            <p:cNvSpPr>
              <a:spLocks noChangeAspect="1" noChangeArrowheads="1"/>
            </p:cNvSpPr>
            <p:nvPr userDrawn="1"/>
          </p:nvSpPr>
          <p:spPr bwMode="auto">
            <a:xfrm>
              <a:off x="8035314"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4" name="Oval 213"/>
            <p:cNvSpPr>
              <a:spLocks noChangeAspect="1" noChangeArrowheads="1"/>
            </p:cNvSpPr>
            <p:nvPr userDrawn="1"/>
          </p:nvSpPr>
          <p:spPr bwMode="auto">
            <a:xfrm>
              <a:off x="814689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5" name="Oval 214"/>
            <p:cNvSpPr>
              <a:spLocks noChangeAspect="1" noChangeArrowheads="1"/>
            </p:cNvSpPr>
            <p:nvPr userDrawn="1"/>
          </p:nvSpPr>
          <p:spPr bwMode="auto">
            <a:xfrm>
              <a:off x="8259973"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6" name="Oval 215"/>
            <p:cNvSpPr>
              <a:spLocks noChangeAspect="1" noChangeArrowheads="1"/>
            </p:cNvSpPr>
            <p:nvPr userDrawn="1"/>
          </p:nvSpPr>
          <p:spPr bwMode="auto">
            <a:xfrm>
              <a:off x="8371549"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7" name="Oval 216"/>
            <p:cNvSpPr>
              <a:spLocks noChangeAspect="1" noChangeArrowheads="1"/>
            </p:cNvSpPr>
            <p:nvPr userDrawn="1"/>
          </p:nvSpPr>
          <p:spPr bwMode="auto">
            <a:xfrm>
              <a:off x="8484633"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8" name="Oval 217"/>
            <p:cNvSpPr>
              <a:spLocks noChangeAspect="1" noChangeArrowheads="1"/>
            </p:cNvSpPr>
            <p:nvPr userDrawn="1"/>
          </p:nvSpPr>
          <p:spPr bwMode="auto">
            <a:xfrm>
              <a:off x="8596209"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9" name="Oval 218"/>
            <p:cNvSpPr>
              <a:spLocks noChangeAspect="1" noChangeArrowheads="1"/>
            </p:cNvSpPr>
            <p:nvPr userDrawn="1"/>
          </p:nvSpPr>
          <p:spPr bwMode="auto">
            <a:xfrm>
              <a:off x="506947"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0" name="Oval 219"/>
            <p:cNvSpPr>
              <a:spLocks noChangeAspect="1" noChangeArrowheads="1"/>
            </p:cNvSpPr>
            <p:nvPr userDrawn="1"/>
          </p:nvSpPr>
          <p:spPr bwMode="auto">
            <a:xfrm>
              <a:off x="62003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1" name="Oval 220"/>
            <p:cNvSpPr>
              <a:spLocks noChangeAspect="1" noChangeArrowheads="1"/>
            </p:cNvSpPr>
            <p:nvPr userDrawn="1"/>
          </p:nvSpPr>
          <p:spPr bwMode="auto">
            <a:xfrm>
              <a:off x="731607"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2" name="Oval 221"/>
            <p:cNvSpPr>
              <a:spLocks noChangeAspect="1" noChangeArrowheads="1"/>
            </p:cNvSpPr>
            <p:nvPr userDrawn="1"/>
          </p:nvSpPr>
          <p:spPr bwMode="auto">
            <a:xfrm>
              <a:off x="844691"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3" name="Oval 222"/>
            <p:cNvSpPr>
              <a:spLocks noChangeAspect="1" noChangeArrowheads="1"/>
            </p:cNvSpPr>
            <p:nvPr userDrawn="1"/>
          </p:nvSpPr>
          <p:spPr bwMode="auto">
            <a:xfrm>
              <a:off x="956267"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4" name="Oval 223"/>
            <p:cNvSpPr>
              <a:spLocks noChangeAspect="1" noChangeArrowheads="1"/>
            </p:cNvSpPr>
            <p:nvPr userDrawn="1"/>
          </p:nvSpPr>
          <p:spPr bwMode="auto">
            <a:xfrm>
              <a:off x="106935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5" name="Oval 224"/>
            <p:cNvSpPr>
              <a:spLocks noChangeAspect="1" noChangeArrowheads="1"/>
            </p:cNvSpPr>
            <p:nvPr userDrawn="1"/>
          </p:nvSpPr>
          <p:spPr bwMode="auto">
            <a:xfrm>
              <a:off x="1180927"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6" name="Oval 225"/>
            <p:cNvSpPr>
              <a:spLocks noChangeAspect="1" noChangeArrowheads="1"/>
            </p:cNvSpPr>
            <p:nvPr userDrawn="1"/>
          </p:nvSpPr>
          <p:spPr bwMode="auto">
            <a:xfrm>
              <a:off x="129401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7" name="Oval 226"/>
            <p:cNvSpPr>
              <a:spLocks noChangeAspect="1" noChangeArrowheads="1"/>
            </p:cNvSpPr>
            <p:nvPr userDrawn="1"/>
          </p:nvSpPr>
          <p:spPr bwMode="auto">
            <a:xfrm>
              <a:off x="1405586"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8" name="Oval 227"/>
            <p:cNvSpPr>
              <a:spLocks noChangeAspect="1" noChangeArrowheads="1"/>
            </p:cNvSpPr>
            <p:nvPr userDrawn="1"/>
          </p:nvSpPr>
          <p:spPr bwMode="auto">
            <a:xfrm>
              <a:off x="151867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9" name="Oval 228"/>
            <p:cNvSpPr>
              <a:spLocks noChangeAspect="1" noChangeArrowheads="1"/>
            </p:cNvSpPr>
            <p:nvPr userDrawn="1"/>
          </p:nvSpPr>
          <p:spPr bwMode="auto">
            <a:xfrm>
              <a:off x="1630247"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0" name="Oval 229"/>
            <p:cNvSpPr>
              <a:spLocks noChangeAspect="1" noChangeArrowheads="1"/>
            </p:cNvSpPr>
            <p:nvPr userDrawn="1"/>
          </p:nvSpPr>
          <p:spPr bwMode="auto">
            <a:xfrm>
              <a:off x="174333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1" name="Oval 230"/>
            <p:cNvSpPr>
              <a:spLocks noChangeAspect="1" noChangeArrowheads="1"/>
            </p:cNvSpPr>
            <p:nvPr userDrawn="1"/>
          </p:nvSpPr>
          <p:spPr bwMode="auto">
            <a:xfrm>
              <a:off x="1854906"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2" name="Oval 231"/>
            <p:cNvSpPr>
              <a:spLocks noChangeAspect="1" noChangeArrowheads="1"/>
            </p:cNvSpPr>
            <p:nvPr userDrawn="1"/>
          </p:nvSpPr>
          <p:spPr bwMode="auto">
            <a:xfrm>
              <a:off x="1967990"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3" name="Oval 232"/>
            <p:cNvSpPr>
              <a:spLocks noChangeAspect="1" noChangeArrowheads="1"/>
            </p:cNvSpPr>
            <p:nvPr userDrawn="1"/>
          </p:nvSpPr>
          <p:spPr bwMode="auto">
            <a:xfrm>
              <a:off x="2079566"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4" name="Oval 233"/>
            <p:cNvSpPr>
              <a:spLocks noChangeAspect="1" noChangeArrowheads="1"/>
            </p:cNvSpPr>
            <p:nvPr userDrawn="1"/>
          </p:nvSpPr>
          <p:spPr bwMode="auto">
            <a:xfrm>
              <a:off x="219265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5" name="Oval 234"/>
            <p:cNvSpPr>
              <a:spLocks noChangeAspect="1" noChangeArrowheads="1"/>
            </p:cNvSpPr>
            <p:nvPr userDrawn="1"/>
          </p:nvSpPr>
          <p:spPr bwMode="auto">
            <a:xfrm>
              <a:off x="2304226"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6" name="Oval 235"/>
            <p:cNvSpPr>
              <a:spLocks noChangeAspect="1" noChangeArrowheads="1"/>
            </p:cNvSpPr>
            <p:nvPr userDrawn="1"/>
          </p:nvSpPr>
          <p:spPr bwMode="auto">
            <a:xfrm>
              <a:off x="2528886"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7" name="Oval 236"/>
            <p:cNvSpPr>
              <a:spLocks noChangeAspect="1" noChangeArrowheads="1"/>
            </p:cNvSpPr>
            <p:nvPr userDrawn="1"/>
          </p:nvSpPr>
          <p:spPr bwMode="auto">
            <a:xfrm>
              <a:off x="2641969"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8" name="Oval 237"/>
            <p:cNvSpPr>
              <a:spLocks noChangeAspect="1" noChangeArrowheads="1"/>
            </p:cNvSpPr>
            <p:nvPr userDrawn="1"/>
          </p:nvSpPr>
          <p:spPr bwMode="auto">
            <a:xfrm>
              <a:off x="2753545"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9" name="Oval 238"/>
            <p:cNvSpPr>
              <a:spLocks noChangeAspect="1" noChangeArrowheads="1"/>
            </p:cNvSpPr>
            <p:nvPr userDrawn="1"/>
          </p:nvSpPr>
          <p:spPr bwMode="auto">
            <a:xfrm>
              <a:off x="3204373"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0" name="Oval 239"/>
            <p:cNvSpPr>
              <a:spLocks noChangeAspect="1" noChangeArrowheads="1"/>
            </p:cNvSpPr>
            <p:nvPr userDrawn="1"/>
          </p:nvSpPr>
          <p:spPr bwMode="auto">
            <a:xfrm>
              <a:off x="3315949"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1" name="Oval 240"/>
            <p:cNvSpPr>
              <a:spLocks noChangeAspect="1" noChangeArrowheads="1"/>
            </p:cNvSpPr>
            <p:nvPr userDrawn="1"/>
          </p:nvSpPr>
          <p:spPr bwMode="auto">
            <a:xfrm>
              <a:off x="3429033"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2" name="Oval 241"/>
            <p:cNvSpPr>
              <a:spLocks noChangeAspect="1" noChangeArrowheads="1"/>
            </p:cNvSpPr>
            <p:nvPr userDrawn="1"/>
          </p:nvSpPr>
          <p:spPr bwMode="auto">
            <a:xfrm>
              <a:off x="3878352"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3" name="Oval 242"/>
            <p:cNvSpPr>
              <a:spLocks noChangeAspect="1" noChangeArrowheads="1"/>
            </p:cNvSpPr>
            <p:nvPr userDrawn="1"/>
          </p:nvSpPr>
          <p:spPr bwMode="auto">
            <a:xfrm>
              <a:off x="4663908"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4" name="Oval 243"/>
            <p:cNvSpPr>
              <a:spLocks noChangeAspect="1" noChangeArrowheads="1"/>
            </p:cNvSpPr>
            <p:nvPr userDrawn="1"/>
          </p:nvSpPr>
          <p:spPr bwMode="auto">
            <a:xfrm>
              <a:off x="4776992"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5" name="Oval 244"/>
            <p:cNvSpPr>
              <a:spLocks noChangeAspect="1" noChangeArrowheads="1"/>
            </p:cNvSpPr>
            <p:nvPr userDrawn="1"/>
          </p:nvSpPr>
          <p:spPr bwMode="auto">
            <a:xfrm>
              <a:off x="4888568"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6" name="Oval 245"/>
            <p:cNvSpPr>
              <a:spLocks noChangeAspect="1" noChangeArrowheads="1"/>
            </p:cNvSpPr>
            <p:nvPr userDrawn="1"/>
          </p:nvSpPr>
          <p:spPr bwMode="auto">
            <a:xfrm>
              <a:off x="5001652"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7" name="Oval 246"/>
            <p:cNvSpPr>
              <a:spLocks noChangeAspect="1" noChangeArrowheads="1"/>
            </p:cNvSpPr>
            <p:nvPr userDrawn="1"/>
          </p:nvSpPr>
          <p:spPr bwMode="auto">
            <a:xfrm>
              <a:off x="5113228"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8" name="Oval 247"/>
            <p:cNvSpPr>
              <a:spLocks noChangeAspect="1" noChangeArrowheads="1"/>
            </p:cNvSpPr>
            <p:nvPr userDrawn="1"/>
          </p:nvSpPr>
          <p:spPr bwMode="auto">
            <a:xfrm>
              <a:off x="5226311"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9" name="Oval 248"/>
            <p:cNvSpPr>
              <a:spLocks noChangeAspect="1" noChangeArrowheads="1"/>
            </p:cNvSpPr>
            <p:nvPr userDrawn="1"/>
          </p:nvSpPr>
          <p:spPr bwMode="auto">
            <a:xfrm>
              <a:off x="5337887"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0" name="Oval 249"/>
            <p:cNvSpPr>
              <a:spLocks noChangeAspect="1" noChangeArrowheads="1"/>
            </p:cNvSpPr>
            <p:nvPr userDrawn="1"/>
          </p:nvSpPr>
          <p:spPr bwMode="auto">
            <a:xfrm>
              <a:off x="5450972"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1" name="Oval 250"/>
            <p:cNvSpPr>
              <a:spLocks noChangeAspect="1" noChangeArrowheads="1"/>
            </p:cNvSpPr>
            <p:nvPr userDrawn="1"/>
          </p:nvSpPr>
          <p:spPr bwMode="auto">
            <a:xfrm>
              <a:off x="5562548"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2" name="Oval 251"/>
            <p:cNvSpPr>
              <a:spLocks noChangeAspect="1" noChangeArrowheads="1"/>
            </p:cNvSpPr>
            <p:nvPr userDrawn="1"/>
          </p:nvSpPr>
          <p:spPr bwMode="auto">
            <a:xfrm>
              <a:off x="5675631"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3" name="Oval 252"/>
            <p:cNvSpPr>
              <a:spLocks noChangeAspect="1" noChangeArrowheads="1"/>
            </p:cNvSpPr>
            <p:nvPr userDrawn="1"/>
          </p:nvSpPr>
          <p:spPr bwMode="auto">
            <a:xfrm>
              <a:off x="5787207"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4" name="Oval 253"/>
            <p:cNvSpPr>
              <a:spLocks noChangeAspect="1" noChangeArrowheads="1"/>
            </p:cNvSpPr>
            <p:nvPr userDrawn="1"/>
          </p:nvSpPr>
          <p:spPr bwMode="auto">
            <a:xfrm>
              <a:off x="590029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5" name="Oval 254"/>
            <p:cNvSpPr>
              <a:spLocks noChangeAspect="1" noChangeArrowheads="1"/>
            </p:cNvSpPr>
            <p:nvPr userDrawn="1"/>
          </p:nvSpPr>
          <p:spPr bwMode="auto">
            <a:xfrm>
              <a:off x="6013375"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6" name="Oval 255"/>
            <p:cNvSpPr>
              <a:spLocks noChangeAspect="1" noChangeArrowheads="1"/>
            </p:cNvSpPr>
            <p:nvPr userDrawn="1"/>
          </p:nvSpPr>
          <p:spPr bwMode="auto">
            <a:xfrm>
              <a:off x="6124951"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7" name="Oval 256"/>
            <p:cNvSpPr>
              <a:spLocks noChangeAspect="1" noChangeArrowheads="1"/>
            </p:cNvSpPr>
            <p:nvPr userDrawn="1"/>
          </p:nvSpPr>
          <p:spPr bwMode="auto">
            <a:xfrm>
              <a:off x="6238035"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8" name="Oval 257"/>
            <p:cNvSpPr>
              <a:spLocks noChangeAspect="1" noChangeArrowheads="1"/>
            </p:cNvSpPr>
            <p:nvPr userDrawn="1"/>
          </p:nvSpPr>
          <p:spPr bwMode="auto">
            <a:xfrm>
              <a:off x="634961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9" name="Oval 258"/>
            <p:cNvSpPr>
              <a:spLocks noChangeAspect="1" noChangeArrowheads="1"/>
            </p:cNvSpPr>
            <p:nvPr userDrawn="1"/>
          </p:nvSpPr>
          <p:spPr bwMode="auto">
            <a:xfrm>
              <a:off x="6462694"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0" name="Oval 259"/>
            <p:cNvSpPr>
              <a:spLocks noChangeAspect="1" noChangeArrowheads="1"/>
            </p:cNvSpPr>
            <p:nvPr userDrawn="1"/>
          </p:nvSpPr>
          <p:spPr bwMode="auto">
            <a:xfrm>
              <a:off x="657427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1" name="Oval 260"/>
            <p:cNvSpPr>
              <a:spLocks noChangeAspect="1" noChangeArrowheads="1"/>
            </p:cNvSpPr>
            <p:nvPr userDrawn="1"/>
          </p:nvSpPr>
          <p:spPr bwMode="auto">
            <a:xfrm>
              <a:off x="6687355"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2" name="Oval 261"/>
            <p:cNvSpPr>
              <a:spLocks noChangeAspect="1" noChangeArrowheads="1"/>
            </p:cNvSpPr>
            <p:nvPr userDrawn="1"/>
          </p:nvSpPr>
          <p:spPr bwMode="auto">
            <a:xfrm>
              <a:off x="679893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3" name="Oval 262"/>
            <p:cNvSpPr>
              <a:spLocks noChangeAspect="1" noChangeArrowheads="1"/>
            </p:cNvSpPr>
            <p:nvPr userDrawn="1"/>
          </p:nvSpPr>
          <p:spPr bwMode="auto">
            <a:xfrm>
              <a:off x="6912014"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4" name="Oval 263"/>
            <p:cNvSpPr>
              <a:spLocks noChangeAspect="1" noChangeArrowheads="1"/>
            </p:cNvSpPr>
            <p:nvPr userDrawn="1"/>
          </p:nvSpPr>
          <p:spPr bwMode="auto">
            <a:xfrm>
              <a:off x="702359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5" name="Oval 264"/>
            <p:cNvSpPr>
              <a:spLocks noChangeAspect="1" noChangeArrowheads="1"/>
            </p:cNvSpPr>
            <p:nvPr userDrawn="1"/>
          </p:nvSpPr>
          <p:spPr bwMode="auto">
            <a:xfrm>
              <a:off x="7136674"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6" name="Oval 265"/>
            <p:cNvSpPr>
              <a:spLocks noChangeAspect="1" noChangeArrowheads="1"/>
            </p:cNvSpPr>
            <p:nvPr userDrawn="1"/>
          </p:nvSpPr>
          <p:spPr bwMode="auto">
            <a:xfrm>
              <a:off x="7248250"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7" name="Oval 266"/>
            <p:cNvSpPr>
              <a:spLocks noChangeAspect="1" noChangeArrowheads="1"/>
            </p:cNvSpPr>
            <p:nvPr userDrawn="1"/>
          </p:nvSpPr>
          <p:spPr bwMode="auto">
            <a:xfrm>
              <a:off x="7361334"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8" name="Oval 267"/>
            <p:cNvSpPr>
              <a:spLocks noChangeAspect="1" noChangeArrowheads="1"/>
            </p:cNvSpPr>
            <p:nvPr userDrawn="1"/>
          </p:nvSpPr>
          <p:spPr bwMode="auto">
            <a:xfrm>
              <a:off x="747291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9" name="Oval 268"/>
            <p:cNvSpPr>
              <a:spLocks noChangeAspect="1" noChangeArrowheads="1"/>
            </p:cNvSpPr>
            <p:nvPr userDrawn="1"/>
          </p:nvSpPr>
          <p:spPr bwMode="auto">
            <a:xfrm>
              <a:off x="7585994"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0" name="Oval 269"/>
            <p:cNvSpPr>
              <a:spLocks noChangeAspect="1" noChangeArrowheads="1"/>
            </p:cNvSpPr>
            <p:nvPr userDrawn="1"/>
          </p:nvSpPr>
          <p:spPr bwMode="auto">
            <a:xfrm>
              <a:off x="7697570"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1" name="Oval 270"/>
            <p:cNvSpPr>
              <a:spLocks noChangeAspect="1" noChangeArrowheads="1"/>
            </p:cNvSpPr>
            <p:nvPr userDrawn="1"/>
          </p:nvSpPr>
          <p:spPr bwMode="auto">
            <a:xfrm>
              <a:off x="7810653"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2" name="Oval 271"/>
            <p:cNvSpPr>
              <a:spLocks noChangeAspect="1" noChangeArrowheads="1"/>
            </p:cNvSpPr>
            <p:nvPr userDrawn="1"/>
          </p:nvSpPr>
          <p:spPr bwMode="auto">
            <a:xfrm>
              <a:off x="7922229"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3" name="Oval 272"/>
            <p:cNvSpPr>
              <a:spLocks noChangeAspect="1" noChangeArrowheads="1"/>
            </p:cNvSpPr>
            <p:nvPr userDrawn="1"/>
          </p:nvSpPr>
          <p:spPr bwMode="auto">
            <a:xfrm>
              <a:off x="8035314"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4" name="Oval 273"/>
            <p:cNvSpPr>
              <a:spLocks noChangeAspect="1" noChangeArrowheads="1"/>
            </p:cNvSpPr>
            <p:nvPr userDrawn="1"/>
          </p:nvSpPr>
          <p:spPr bwMode="auto">
            <a:xfrm>
              <a:off x="8146890"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5" name="Oval 274"/>
            <p:cNvSpPr>
              <a:spLocks noChangeAspect="1" noChangeArrowheads="1"/>
            </p:cNvSpPr>
            <p:nvPr userDrawn="1"/>
          </p:nvSpPr>
          <p:spPr bwMode="auto">
            <a:xfrm>
              <a:off x="8259973"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6" name="Oval 275"/>
            <p:cNvSpPr>
              <a:spLocks noChangeAspect="1" noChangeArrowheads="1"/>
            </p:cNvSpPr>
            <p:nvPr userDrawn="1"/>
          </p:nvSpPr>
          <p:spPr bwMode="auto">
            <a:xfrm>
              <a:off x="8371549"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7" name="Oval 276"/>
            <p:cNvSpPr>
              <a:spLocks noChangeAspect="1" noChangeArrowheads="1"/>
            </p:cNvSpPr>
            <p:nvPr userDrawn="1"/>
          </p:nvSpPr>
          <p:spPr bwMode="auto">
            <a:xfrm>
              <a:off x="8484633"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8" name="Oval 277"/>
            <p:cNvSpPr>
              <a:spLocks noChangeAspect="1" noChangeArrowheads="1"/>
            </p:cNvSpPr>
            <p:nvPr userDrawn="1"/>
          </p:nvSpPr>
          <p:spPr bwMode="auto">
            <a:xfrm>
              <a:off x="8596209"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9" name="Oval 278"/>
            <p:cNvSpPr>
              <a:spLocks noChangeAspect="1" noChangeArrowheads="1"/>
            </p:cNvSpPr>
            <p:nvPr userDrawn="1"/>
          </p:nvSpPr>
          <p:spPr bwMode="auto">
            <a:xfrm>
              <a:off x="8709293"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0" name="Oval 279"/>
            <p:cNvSpPr>
              <a:spLocks noChangeAspect="1" noChangeArrowheads="1"/>
            </p:cNvSpPr>
            <p:nvPr userDrawn="1"/>
          </p:nvSpPr>
          <p:spPr bwMode="auto">
            <a:xfrm>
              <a:off x="506947"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1" name="Oval 280"/>
            <p:cNvSpPr>
              <a:spLocks noChangeAspect="1" noChangeArrowheads="1"/>
            </p:cNvSpPr>
            <p:nvPr userDrawn="1"/>
          </p:nvSpPr>
          <p:spPr bwMode="auto">
            <a:xfrm>
              <a:off x="62003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2" name="Oval 281"/>
            <p:cNvSpPr>
              <a:spLocks noChangeAspect="1" noChangeArrowheads="1"/>
            </p:cNvSpPr>
            <p:nvPr userDrawn="1"/>
          </p:nvSpPr>
          <p:spPr bwMode="auto">
            <a:xfrm>
              <a:off x="731607"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3" name="Oval 282"/>
            <p:cNvSpPr>
              <a:spLocks noChangeAspect="1" noChangeArrowheads="1"/>
            </p:cNvSpPr>
            <p:nvPr userDrawn="1"/>
          </p:nvSpPr>
          <p:spPr bwMode="auto">
            <a:xfrm>
              <a:off x="84469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4" name="Oval 283"/>
            <p:cNvSpPr>
              <a:spLocks noChangeAspect="1" noChangeArrowheads="1"/>
            </p:cNvSpPr>
            <p:nvPr userDrawn="1"/>
          </p:nvSpPr>
          <p:spPr bwMode="auto">
            <a:xfrm>
              <a:off x="956267"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5" name="Oval 284"/>
            <p:cNvSpPr>
              <a:spLocks noChangeAspect="1" noChangeArrowheads="1"/>
            </p:cNvSpPr>
            <p:nvPr userDrawn="1"/>
          </p:nvSpPr>
          <p:spPr bwMode="auto">
            <a:xfrm>
              <a:off x="106935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6" name="Oval 285"/>
            <p:cNvSpPr>
              <a:spLocks noChangeAspect="1" noChangeArrowheads="1"/>
            </p:cNvSpPr>
            <p:nvPr userDrawn="1"/>
          </p:nvSpPr>
          <p:spPr bwMode="auto">
            <a:xfrm>
              <a:off x="1180927"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7" name="Oval 286"/>
            <p:cNvSpPr>
              <a:spLocks noChangeAspect="1" noChangeArrowheads="1"/>
            </p:cNvSpPr>
            <p:nvPr userDrawn="1"/>
          </p:nvSpPr>
          <p:spPr bwMode="auto">
            <a:xfrm>
              <a:off x="129401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8" name="Oval 287"/>
            <p:cNvSpPr>
              <a:spLocks noChangeAspect="1" noChangeArrowheads="1"/>
            </p:cNvSpPr>
            <p:nvPr userDrawn="1"/>
          </p:nvSpPr>
          <p:spPr bwMode="auto">
            <a:xfrm>
              <a:off x="1405586"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9" name="Oval 288"/>
            <p:cNvSpPr>
              <a:spLocks noChangeAspect="1" noChangeArrowheads="1"/>
            </p:cNvSpPr>
            <p:nvPr userDrawn="1"/>
          </p:nvSpPr>
          <p:spPr bwMode="auto">
            <a:xfrm>
              <a:off x="151867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0" name="Oval 289"/>
            <p:cNvSpPr>
              <a:spLocks noChangeAspect="1" noChangeArrowheads="1"/>
            </p:cNvSpPr>
            <p:nvPr userDrawn="1"/>
          </p:nvSpPr>
          <p:spPr bwMode="auto">
            <a:xfrm>
              <a:off x="1630247"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1" name="Oval 290"/>
            <p:cNvSpPr>
              <a:spLocks noChangeAspect="1" noChangeArrowheads="1"/>
            </p:cNvSpPr>
            <p:nvPr userDrawn="1"/>
          </p:nvSpPr>
          <p:spPr bwMode="auto">
            <a:xfrm>
              <a:off x="174333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2" name="Oval 291"/>
            <p:cNvSpPr>
              <a:spLocks noChangeAspect="1" noChangeArrowheads="1"/>
            </p:cNvSpPr>
            <p:nvPr userDrawn="1"/>
          </p:nvSpPr>
          <p:spPr bwMode="auto">
            <a:xfrm>
              <a:off x="1854906"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3" name="Oval 292"/>
            <p:cNvSpPr>
              <a:spLocks noChangeAspect="1" noChangeArrowheads="1"/>
            </p:cNvSpPr>
            <p:nvPr userDrawn="1"/>
          </p:nvSpPr>
          <p:spPr bwMode="auto">
            <a:xfrm>
              <a:off x="1967990"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4" name="Oval 293"/>
            <p:cNvSpPr>
              <a:spLocks noChangeAspect="1" noChangeArrowheads="1"/>
            </p:cNvSpPr>
            <p:nvPr userDrawn="1"/>
          </p:nvSpPr>
          <p:spPr bwMode="auto">
            <a:xfrm>
              <a:off x="2079566"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5" name="Oval 294"/>
            <p:cNvSpPr>
              <a:spLocks noChangeAspect="1" noChangeArrowheads="1"/>
            </p:cNvSpPr>
            <p:nvPr userDrawn="1"/>
          </p:nvSpPr>
          <p:spPr bwMode="auto">
            <a:xfrm>
              <a:off x="219265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6" name="Oval 295"/>
            <p:cNvSpPr>
              <a:spLocks noChangeAspect="1" noChangeArrowheads="1"/>
            </p:cNvSpPr>
            <p:nvPr userDrawn="1"/>
          </p:nvSpPr>
          <p:spPr bwMode="auto">
            <a:xfrm>
              <a:off x="2304226"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7" name="Oval 296"/>
            <p:cNvSpPr>
              <a:spLocks noChangeAspect="1" noChangeArrowheads="1"/>
            </p:cNvSpPr>
            <p:nvPr userDrawn="1"/>
          </p:nvSpPr>
          <p:spPr bwMode="auto">
            <a:xfrm>
              <a:off x="2641969"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8" name="Oval 297"/>
            <p:cNvSpPr>
              <a:spLocks noChangeAspect="1" noChangeArrowheads="1"/>
            </p:cNvSpPr>
            <p:nvPr userDrawn="1"/>
          </p:nvSpPr>
          <p:spPr bwMode="auto">
            <a:xfrm>
              <a:off x="2753545"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9" name="Oval 298"/>
            <p:cNvSpPr>
              <a:spLocks noChangeAspect="1" noChangeArrowheads="1"/>
            </p:cNvSpPr>
            <p:nvPr userDrawn="1"/>
          </p:nvSpPr>
          <p:spPr bwMode="auto">
            <a:xfrm>
              <a:off x="3204373"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0" name="Oval 299"/>
            <p:cNvSpPr>
              <a:spLocks noChangeAspect="1" noChangeArrowheads="1"/>
            </p:cNvSpPr>
            <p:nvPr userDrawn="1"/>
          </p:nvSpPr>
          <p:spPr bwMode="auto">
            <a:xfrm>
              <a:off x="3315949"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1" name="Oval 300"/>
            <p:cNvSpPr>
              <a:spLocks noChangeAspect="1" noChangeArrowheads="1"/>
            </p:cNvSpPr>
            <p:nvPr userDrawn="1"/>
          </p:nvSpPr>
          <p:spPr bwMode="auto">
            <a:xfrm>
              <a:off x="3878352"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2" name="Oval 301"/>
            <p:cNvSpPr>
              <a:spLocks noChangeAspect="1" noChangeArrowheads="1"/>
            </p:cNvSpPr>
            <p:nvPr userDrawn="1"/>
          </p:nvSpPr>
          <p:spPr bwMode="auto">
            <a:xfrm>
              <a:off x="3989928"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3" name="Oval 302"/>
            <p:cNvSpPr>
              <a:spLocks noChangeAspect="1" noChangeArrowheads="1"/>
            </p:cNvSpPr>
            <p:nvPr userDrawn="1"/>
          </p:nvSpPr>
          <p:spPr bwMode="auto">
            <a:xfrm>
              <a:off x="4552332"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4" name="Oval 303"/>
            <p:cNvSpPr>
              <a:spLocks noChangeAspect="1" noChangeArrowheads="1"/>
            </p:cNvSpPr>
            <p:nvPr userDrawn="1"/>
          </p:nvSpPr>
          <p:spPr bwMode="auto">
            <a:xfrm>
              <a:off x="4663908"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5" name="Oval 304"/>
            <p:cNvSpPr>
              <a:spLocks noChangeAspect="1" noChangeArrowheads="1"/>
            </p:cNvSpPr>
            <p:nvPr userDrawn="1"/>
          </p:nvSpPr>
          <p:spPr bwMode="auto">
            <a:xfrm>
              <a:off x="4776992"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6" name="Oval 305"/>
            <p:cNvSpPr>
              <a:spLocks noChangeAspect="1" noChangeArrowheads="1"/>
            </p:cNvSpPr>
            <p:nvPr userDrawn="1"/>
          </p:nvSpPr>
          <p:spPr bwMode="auto">
            <a:xfrm>
              <a:off x="4888568"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7" name="Oval 306"/>
            <p:cNvSpPr>
              <a:spLocks noChangeAspect="1" noChangeArrowheads="1"/>
            </p:cNvSpPr>
            <p:nvPr userDrawn="1"/>
          </p:nvSpPr>
          <p:spPr bwMode="auto">
            <a:xfrm>
              <a:off x="5001652"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8" name="Oval 307"/>
            <p:cNvSpPr>
              <a:spLocks noChangeAspect="1" noChangeArrowheads="1"/>
            </p:cNvSpPr>
            <p:nvPr userDrawn="1"/>
          </p:nvSpPr>
          <p:spPr bwMode="auto">
            <a:xfrm>
              <a:off x="5113228"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9" name="Oval 308"/>
            <p:cNvSpPr>
              <a:spLocks noChangeAspect="1" noChangeArrowheads="1"/>
            </p:cNvSpPr>
            <p:nvPr userDrawn="1"/>
          </p:nvSpPr>
          <p:spPr bwMode="auto">
            <a:xfrm>
              <a:off x="522631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0" name="Oval 309"/>
            <p:cNvSpPr>
              <a:spLocks noChangeAspect="1" noChangeArrowheads="1"/>
            </p:cNvSpPr>
            <p:nvPr userDrawn="1"/>
          </p:nvSpPr>
          <p:spPr bwMode="auto">
            <a:xfrm>
              <a:off x="5337887"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1" name="Oval 310"/>
            <p:cNvSpPr>
              <a:spLocks noChangeAspect="1" noChangeArrowheads="1"/>
            </p:cNvSpPr>
            <p:nvPr userDrawn="1"/>
          </p:nvSpPr>
          <p:spPr bwMode="auto">
            <a:xfrm>
              <a:off x="5450972"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2" name="Oval 311"/>
            <p:cNvSpPr>
              <a:spLocks noChangeAspect="1" noChangeArrowheads="1"/>
            </p:cNvSpPr>
            <p:nvPr userDrawn="1"/>
          </p:nvSpPr>
          <p:spPr bwMode="auto">
            <a:xfrm>
              <a:off x="5562548"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3" name="Oval 312"/>
            <p:cNvSpPr>
              <a:spLocks noChangeAspect="1" noChangeArrowheads="1"/>
            </p:cNvSpPr>
            <p:nvPr userDrawn="1"/>
          </p:nvSpPr>
          <p:spPr bwMode="auto">
            <a:xfrm>
              <a:off x="567563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4" name="Oval 313"/>
            <p:cNvSpPr>
              <a:spLocks noChangeAspect="1" noChangeArrowheads="1"/>
            </p:cNvSpPr>
            <p:nvPr userDrawn="1"/>
          </p:nvSpPr>
          <p:spPr bwMode="auto">
            <a:xfrm>
              <a:off x="5787207"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5" name="Oval 314"/>
            <p:cNvSpPr>
              <a:spLocks noChangeAspect="1" noChangeArrowheads="1"/>
            </p:cNvSpPr>
            <p:nvPr userDrawn="1"/>
          </p:nvSpPr>
          <p:spPr bwMode="auto">
            <a:xfrm>
              <a:off x="590029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6" name="Oval 315"/>
            <p:cNvSpPr>
              <a:spLocks noChangeAspect="1" noChangeArrowheads="1"/>
            </p:cNvSpPr>
            <p:nvPr userDrawn="1"/>
          </p:nvSpPr>
          <p:spPr bwMode="auto">
            <a:xfrm>
              <a:off x="6013375"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7" name="Oval 316"/>
            <p:cNvSpPr>
              <a:spLocks noChangeAspect="1" noChangeArrowheads="1"/>
            </p:cNvSpPr>
            <p:nvPr userDrawn="1"/>
          </p:nvSpPr>
          <p:spPr bwMode="auto">
            <a:xfrm>
              <a:off x="612495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8" name="Oval 317"/>
            <p:cNvSpPr>
              <a:spLocks noChangeAspect="1" noChangeArrowheads="1"/>
            </p:cNvSpPr>
            <p:nvPr userDrawn="1"/>
          </p:nvSpPr>
          <p:spPr bwMode="auto">
            <a:xfrm>
              <a:off x="6238035"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9" name="Oval 318"/>
            <p:cNvSpPr>
              <a:spLocks noChangeAspect="1" noChangeArrowheads="1"/>
            </p:cNvSpPr>
            <p:nvPr userDrawn="1"/>
          </p:nvSpPr>
          <p:spPr bwMode="auto">
            <a:xfrm>
              <a:off x="634961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0" name="Oval 319"/>
            <p:cNvSpPr>
              <a:spLocks noChangeAspect="1" noChangeArrowheads="1"/>
            </p:cNvSpPr>
            <p:nvPr userDrawn="1"/>
          </p:nvSpPr>
          <p:spPr bwMode="auto">
            <a:xfrm>
              <a:off x="6462694"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1" name="Oval 320"/>
            <p:cNvSpPr>
              <a:spLocks noChangeAspect="1" noChangeArrowheads="1"/>
            </p:cNvSpPr>
            <p:nvPr userDrawn="1"/>
          </p:nvSpPr>
          <p:spPr bwMode="auto">
            <a:xfrm>
              <a:off x="657427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2" name="Oval 321"/>
            <p:cNvSpPr>
              <a:spLocks noChangeAspect="1" noChangeArrowheads="1"/>
            </p:cNvSpPr>
            <p:nvPr userDrawn="1"/>
          </p:nvSpPr>
          <p:spPr bwMode="auto">
            <a:xfrm>
              <a:off x="6687355"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3" name="Oval 322"/>
            <p:cNvSpPr>
              <a:spLocks noChangeAspect="1" noChangeArrowheads="1"/>
            </p:cNvSpPr>
            <p:nvPr userDrawn="1"/>
          </p:nvSpPr>
          <p:spPr bwMode="auto">
            <a:xfrm>
              <a:off x="679893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4" name="Oval 323"/>
            <p:cNvSpPr>
              <a:spLocks noChangeAspect="1" noChangeArrowheads="1"/>
            </p:cNvSpPr>
            <p:nvPr userDrawn="1"/>
          </p:nvSpPr>
          <p:spPr bwMode="auto">
            <a:xfrm>
              <a:off x="6912014"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5" name="Oval 324"/>
            <p:cNvSpPr>
              <a:spLocks noChangeAspect="1" noChangeArrowheads="1"/>
            </p:cNvSpPr>
            <p:nvPr userDrawn="1"/>
          </p:nvSpPr>
          <p:spPr bwMode="auto">
            <a:xfrm>
              <a:off x="702359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6" name="Oval 325"/>
            <p:cNvSpPr>
              <a:spLocks noChangeAspect="1" noChangeArrowheads="1"/>
            </p:cNvSpPr>
            <p:nvPr userDrawn="1"/>
          </p:nvSpPr>
          <p:spPr bwMode="auto">
            <a:xfrm>
              <a:off x="7136674"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7" name="Oval 326"/>
            <p:cNvSpPr>
              <a:spLocks noChangeAspect="1" noChangeArrowheads="1"/>
            </p:cNvSpPr>
            <p:nvPr userDrawn="1"/>
          </p:nvSpPr>
          <p:spPr bwMode="auto">
            <a:xfrm>
              <a:off x="7248250"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8" name="Oval 327"/>
            <p:cNvSpPr>
              <a:spLocks noChangeAspect="1" noChangeArrowheads="1"/>
            </p:cNvSpPr>
            <p:nvPr userDrawn="1"/>
          </p:nvSpPr>
          <p:spPr bwMode="auto">
            <a:xfrm>
              <a:off x="7361334"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9" name="Oval 328"/>
            <p:cNvSpPr>
              <a:spLocks noChangeAspect="1" noChangeArrowheads="1"/>
            </p:cNvSpPr>
            <p:nvPr userDrawn="1"/>
          </p:nvSpPr>
          <p:spPr bwMode="auto">
            <a:xfrm>
              <a:off x="747291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0" name="Oval 329"/>
            <p:cNvSpPr>
              <a:spLocks noChangeAspect="1" noChangeArrowheads="1"/>
            </p:cNvSpPr>
            <p:nvPr userDrawn="1"/>
          </p:nvSpPr>
          <p:spPr bwMode="auto">
            <a:xfrm>
              <a:off x="7585994"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1" name="Oval 330"/>
            <p:cNvSpPr>
              <a:spLocks noChangeAspect="1" noChangeArrowheads="1"/>
            </p:cNvSpPr>
            <p:nvPr userDrawn="1"/>
          </p:nvSpPr>
          <p:spPr bwMode="auto">
            <a:xfrm>
              <a:off x="7697570"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2" name="Oval 331"/>
            <p:cNvSpPr>
              <a:spLocks noChangeAspect="1" noChangeArrowheads="1"/>
            </p:cNvSpPr>
            <p:nvPr userDrawn="1"/>
          </p:nvSpPr>
          <p:spPr bwMode="auto">
            <a:xfrm>
              <a:off x="7810653"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3" name="Oval 332"/>
            <p:cNvSpPr>
              <a:spLocks noChangeAspect="1" noChangeArrowheads="1"/>
            </p:cNvSpPr>
            <p:nvPr userDrawn="1"/>
          </p:nvSpPr>
          <p:spPr bwMode="auto">
            <a:xfrm>
              <a:off x="7922229"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4" name="Oval 333"/>
            <p:cNvSpPr>
              <a:spLocks noChangeAspect="1" noChangeArrowheads="1"/>
            </p:cNvSpPr>
            <p:nvPr userDrawn="1"/>
          </p:nvSpPr>
          <p:spPr bwMode="auto">
            <a:xfrm>
              <a:off x="8035314"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5" name="Oval 334"/>
            <p:cNvSpPr>
              <a:spLocks noChangeAspect="1" noChangeArrowheads="1"/>
            </p:cNvSpPr>
            <p:nvPr userDrawn="1"/>
          </p:nvSpPr>
          <p:spPr bwMode="auto">
            <a:xfrm>
              <a:off x="8146890"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6" name="Oval 335"/>
            <p:cNvSpPr>
              <a:spLocks noChangeAspect="1" noChangeArrowheads="1"/>
            </p:cNvSpPr>
            <p:nvPr userDrawn="1"/>
          </p:nvSpPr>
          <p:spPr bwMode="auto">
            <a:xfrm>
              <a:off x="8259973"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7" name="Oval 336"/>
            <p:cNvSpPr>
              <a:spLocks noChangeAspect="1" noChangeArrowheads="1"/>
            </p:cNvSpPr>
            <p:nvPr userDrawn="1"/>
          </p:nvSpPr>
          <p:spPr bwMode="auto">
            <a:xfrm>
              <a:off x="8371549"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8" name="Oval 337"/>
            <p:cNvSpPr>
              <a:spLocks noChangeAspect="1" noChangeArrowheads="1"/>
            </p:cNvSpPr>
            <p:nvPr userDrawn="1"/>
          </p:nvSpPr>
          <p:spPr bwMode="auto">
            <a:xfrm>
              <a:off x="8484633"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9" name="Oval 338"/>
            <p:cNvSpPr>
              <a:spLocks noChangeAspect="1" noChangeArrowheads="1"/>
            </p:cNvSpPr>
            <p:nvPr userDrawn="1"/>
          </p:nvSpPr>
          <p:spPr bwMode="auto">
            <a:xfrm>
              <a:off x="39537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0" name="Oval 339"/>
            <p:cNvSpPr>
              <a:spLocks noChangeAspect="1" noChangeArrowheads="1"/>
            </p:cNvSpPr>
            <p:nvPr userDrawn="1"/>
          </p:nvSpPr>
          <p:spPr bwMode="auto">
            <a:xfrm>
              <a:off x="506947"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1" name="Oval 340"/>
            <p:cNvSpPr>
              <a:spLocks noChangeAspect="1" noChangeArrowheads="1"/>
            </p:cNvSpPr>
            <p:nvPr userDrawn="1"/>
          </p:nvSpPr>
          <p:spPr bwMode="auto">
            <a:xfrm>
              <a:off x="62003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2" name="Oval 341"/>
            <p:cNvSpPr>
              <a:spLocks noChangeAspect="1" noChangeArrowheads="1"/>
            </p:cNvSpPr>
            <p:nvPr userDrawn="1"/>
          </p:nvSpPr>
          <p:spPr bwMode="auto">
            <a:xfrm>
              <a:off x="731607"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3" name="Oval 342"/>
            <p:cNvSpPr>
              <a:spLocks noChangeAspect="1" noChangeArrowheads="1"/>
            </p:cNvSpPr>
            <p:nvPr userDrawn="1"/>
          </p:nvSpPr>
          <p:spPr bwMode="auto">
            <a:xfrm>
              <a:off x="844691"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4" name="Oval 343"/>
            <p:cNvSpPr>
              <a:spLocks noChangeAspect="1" noChangeArrowheads="1"/>
            </p:cNvSpPr>
            <p:nvPr userDrawn="1"/>
          </p:nvSpPr>
          <p:spPr bwMode="auto">
            <a:xfrm>
              <a:off x="956267"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5" name="Oval 344"/>
            <p:cNvSpPr>
              <a:spLocks noChangeAspect="1" noChangeArrowheads="1"/>
            </p:cNvSpPr>
            <p:nvPr userDrawn="1"/>
          </p:nvSpPr>
          <p:spPr bwMode="auto">
            <a:xfrm>
              <a:off x="106935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6" name="Oval 345"/>
            <p:cNvSpPr>
              <a:spLocks noChangeAspect="1" noChangeArrowheads="1"/>
            </p:cNvSpPr>
            <p:nvPr userDrawn="1"/>
          </p:nvSpPr>
          <p:spPr bwMode="auto">
            <a:xfrm>
              <a:off x="1180927"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7" name="Oval 346"/>
            <p:cNvSpPr>
              <a:spLocks noChangeAspect="1" noChangeArrowheads="1"/>
            </p:cNvSpPr>
            <p:nvPr userDrawn="1"/>
          </p:nvSpPr>
          <p:spPr bwMode="auto">
            <a:xfrm>
              <a:off x="129401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8" name="Oval 347"/>
            <p:cNvSpPr>
              <a:spLocks noChangeAspect="1" noChangeArrowheads="1"/>
            </p:cNvSpPr>
            <p:nvPr userDrawn="1"/>
          </p:nvSpPr>
          <p:spPr bwMode="auto">
            <a:xfrm>
              <a:off x="1405586"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9" name="Oval 348"/>
            <p:cNvSpPr>
              <a:spLocks noChangeAspect="1" noChangeArrowheads="1"/>
            </p:cNvSpPr>
            <p:nvPr userDrawn="1"/>
          </p:nvSpPr>
          <p:spPr bwMode="auto">
            <a:xfrm>
              <a:off x="151867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0" name="Oval 349"/>
            <p:cNvSpPr>
              <a:spLocks noChangeAspect="1" noChangeArrowheads="1"/>
            </p:cNvSpPr>
            <p:nvPr userDrawn="1"/>
          </p:nvSpPr>
          <p:spPr bwMode="auto">
            <a:xfrm>
              <a:off x="1630247"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1" name="Oval 350"/>
            <p:cNvSpPr>
              <a:spLocks noChangeAspect="1" noChangeArrowheads="1"/>
            </p:cNvSpPr>
            <p:nvPr userDrawn="1"/>
          </p:nvSpPr>
          <p:spPr bwMode="auto">
            <a:xfrm>
              <a:off x="174333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2" name="Oval 351"/>
            <p:cNvSpPr>
              <a:spLocks noChangeAspect="1" noChangeArrowheads="1"/>
            </p:cNvSpPr>
            <p:nvPr userDrawn="1"/>
          </p:nvSpPr>
          <p:spPr bwMode="auto">
            <a:xfrm>
              <a:off x="1854906"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3" name="Oval 352"/>
            <p:cNvSpPr>
              <a:spLocks noChangeAspect="1" noChangeArrowheads="1"/>
            </p:cNvSpPr>
            <p:nvPr userDrawn="1"/>
          </p:nvSpPr>
          <p:spPr bwMode="auto">
            <a:xfrm>
              <a:off x="1967990"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4" name="Oval 353"/>
            <p:cNvSpPr>
              <a:spLocks noChangeAspect="1" noChangeArrowheads="1"/>
            </p:cNvSpPr>
            <p:nvPr userDrawn="1"/>
          </p:nvSpPr>
          <p:spPr bwMode="auto">
            <a:xfrm>
              <a:off x="2079566"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5" name="Oval 354"/>
            <p:cNvSpPr>
              <a:spLocks noChangeAspect="1" noChangeArrowheads="1"/>
            </p:cNvSpPr>
            <p:nvPr userDrawn="1"/>
          </p:nvSpPr>
          <p:spPr bwMode="auto">
            <a:xfrm>
              <a:off x="2528886"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6" name="Oval 355"/>
            <p:cNvSpPr>
              <a:spLocks noChangeAspect="1" noChangeArrowheads="1"/>
            </p:cNvSpPr>
            <p:nvPr userDrawn="1"/>
          </p:nvSpPr>
          <p:spPr bwMode="auto">
            <a:xfrm>
              <a:off x="3315949"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7" name="Oval 356"/>
            <p:cNvSpPr>
              <a:spLocks noChangeAspect="1" noChangeArrowheads="1"/>
            </p:cNvSpPr>
            <p:nvPr userDrawn="1"/>
          </p:nvSpPr>
          <p:spPr bwMode="auto">
            <a:xfrm>
              <a:off x="3765269"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8" name="Oval 357"/>
            <p:cNvSpPr>
              <a:spLocks noChangeAspect="1" noChangeArrowheads="1"/>
            </p:cNvSpPr>
            <p:nvPr userDrawn="1"/>
          </p:nvSpPr>
          <p:spPr bwMode="auto">
            <a:xfrm>
              <a:off x="4439248"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9" name="Oval 358"/>
            <p:cNvSpPr>
              <a:spLocks noChangeAspect="1" noChangeArrowheads="1"/>
            </p:cNvSpPr>
            <p:nvPr userDrawn="1"/>
          </p:nvSpPr>
          <p:spPr bwMode="auto">
            <a:xfrm>
              <a:off x="4552332"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0" name="Oval 359"/>
            <p:cNvSpPr>
              <a:spLocks noChangeAspect="1" noChangeArrowheads="1"/>
            </p:cNvSpPr>
            <p:nvPr userDrawn="1"/>
          </p:nvSpPr>
          <p:spPr bwMode="auto">
            <a:xfrm>
              <a:off x="4663908" y="2074514"/>
              <a:ext cx="85943" cy="85943"/>
            </a:xfrm>
            <a:prstGeom prst="ellipse">
              <a:avLst/>
            </a:prstGeom>
            <a:grpFill/>
            <a:ln>
              <a:solidFill>
                <a:schemeClr val="bg1">
                  <a:lumMod val="75000"/>
                </a:schemeClr>
              </a:solidFill>
            </a:ln>
            <a:effectLst/>
          </p:spPr>
          <p:txBody>
            <a:bodyPr wrap="none" anchor="ctr"/>
            <a:lstStyle/>
            <a:p>
              <a:pPr defTabSz="1218987"/>
              <a:endParaRPr lang="en-US" sz="2400" dirty="0">
                <a:solidFill>
                  <a:srgbClr val="292929"/>
                </a:solidFill>
              </a:endParaRPr>
            </a:p>
          </p:txBody>
        </p:sp>
        <p:sp>
          <p:nvSpPr>
            <p:cNvPr id="361" name="Oval 360"/>
            <p:cNvSpPr>
              <a:spLocks noChangeAspect="1" noChangeArrowheads="1"/>
            </p:cNvSpPr>
            <p:nvPr userDrawn="1"/>
          </p:nvSpPr>
          <p:spPr bwMode="auto">
            <a:xfrm>
              <a:off x="4888568"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2" name="Oval 361"/>
            <p:cNvSpPr>
              <a:spLocks noChangeAspect="1" noChangeArrowheads="1"/>
            </p:cNvSpPr>
            <p:nvPr userDrawn="1"/>
          </p:nvSpPr>
          <p:spPr bwMode="auto">
            <a:xfrm>
              <a:off x="5001652"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3" name="Oval 362"/>
            <p:cNvSpPr>
              <a:spLocks noChangeAspect="1" noChangeArrowheads="1"/>
            </p:cNvSpPr>
            <p:nvPr userDrawn="1"/>
          </p:nvSpPr>
          <p:spPr bwMode="auto">
            <a:xfrm>
              <a:off x="5113228"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4" name="Oval 363"/>
            <p:cNvSpPr>
              <a:spLocks noChangeAspect="1" noChangeArrowheads="1"/>
            </p:cNvSpPr>
            <p:nvPr userDrawn="1"/>
          </p:nvSpPr>
          <p:spPr bwMode="auto">
            <a:xfrm>
              <a:off x="5226311" y="2074514"/>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365" name="Oval 364"/>
            <p:cNvSpPr>
              <a:spLocks noChangeAspect="1" noChangeArrowheads="1"/>
            </p:cNvSpPr>
            <p:nvPr userDrawn="1"/>
          </p:nvSpPr>
          <p:spPr bwMode="auto">
            <a:xfrm>
              <a:off x="5337887"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6" name="Oval 365"/>
            <p:cNvSpPr>
              <a:spLocks noChangeAspect="1" noChangeArrowheads="1"/>
            </p:cNvSpPr>
            <p:nvPr userDrawn="1"/>
          </p:nvSpPr>
          <p:spPr bwMode="auto">
            <a:xfrm>
              <a:off x="5450972"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7" name="Oval 366"/>
            <p:cNvSpPr>
              <a:spLocks noChangeAspect="1" noChangeArrowheads="1"/>
            </p:cNvSpPr>
            <p:nvPr userDrawn="1"/>
          </p:nvSpPr>
          <p:spPr bwMode="auto">
            <a:xfrm>
              <a:off x="5562548"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8" name="Oval 367"/>
            <p:cNvSpPr>
              <a:spLocks noChangeAspect="1" noChangeArrowheads="1"/>
            </p:cNvSpPr>
            <p:nvPr userDrawn="1"/>
          </p:nvSpPr>
          <p:spPr bwMode="auto">
            <a:xfrm>
              <a:off x="5675631"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9" name="Oval 368"/>
            <p:cNvSpPr>
              <a:spLocks noChangeAspect="1" noChangeArrowheads="1"/>
            </p:cNvSpPr>
            <p:nvPr userDrawn="1"/>
          </p:nvSpPr>
          <p:spPr bwMode="auto">
            <a:xfrm>
              <a:off x="5787207"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0" name="Oval 369"/>
            <p:cNvSpPr>
              <a:spLocks noChangeAspect="1" noChangeArrowheads="1"/>
            </p:cNvSpPr>
            <p:nvPr userDrawn="1"/>
          </p:nvSpPr>
          <p:spPr bwMode="auto">
            <a:xfrm>
              <a:off x="590029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1" name="Oval 370"/>
            <p:cNvSpPr>
              <a:spLocks noChangeAspect="1" noChangeArrowheads="1"/>
            </p:cNvSpPr>
            <p:nvPr userDrawn="1"/>
          </p:nvSpPr>
          <p:spPr bwMode="auto">
            <a:xfrm>
              <a:off x="6013375"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2" name="Oval 371"/>
            <p:cNvSpPr>
              <a:spLocks noChangeAspect="1" noChangeArrowheads="1"/>
            </p:cNvSpPr>
            <p:nvPr userDrawn="1"/>
          </p:nvSpPr>
          <p:spPr bwMode="auto">
            <a:xfrm>
              <a:off x="6124951"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3" name="Oval 372"/>
            <p:cNvSpPr>
              <a:spLocks noChangeAspect="1" noChangeArrowheads="1"/>
            </p:cNvSpPr>
            <p:nvPr userDrawn="1"/>
          </p:nvSpPr>
          <p:spPr bwMode="auto">
            <a:xfrm>
              <a:off x="6238035"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4" name="Oval 373"/>
            <p:cNvSpPr>
              <a:spLocks noChangeAspect="1" noChangeArrowheads="1"/>
            </p:cNvSpPr>
            <p:nvPr userDrawn="1"/>
          </p:nvSpPr>
          <p:spPr bwMode="auto">
            <a:xfrm>
              <a:off x="634961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5" name="Oval 374"/>
            <p:cNvSpPr>
              <a:spLocks noChangeAspect="1" noChangeArrowheads="1"/>
            </p:cNvSpPr>
            <p:nvPr userDrawn="1"/>
          </p:nvSpPr>
          <p:spPr bwMode="auto">
            <a:xfrm>
              <a:off x="6462694"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6" name="Oval 375"/>
            <p:cNvSpPr>
              <a:spLocks noChangeAspect="1" noChangeArrowheads="1"/>
            </p:cNvSpPr>
            <p:nvPr userDrawn="1"/>
          </p:nvSpPr>
          <p:spPr bwMode="auto">
            <a:xfrm>
              <a:off x="657427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7" name="Oval 376"/>
            <p:cNvSpPr>
              <a:spLocks noChangeAspect="1" noChangeArrowheads="1"/>
            </p:cNvSpPr>
            <p:nvPr userDrawn="1"/>
          </p:nvSpPr>
          <p:spPr bwMode="auto">
            <a:xfrm>
              <a:off x="6687355"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8" name="Oval 377"/>
            <p:cNvSpPr>
              <a:spLocks noChangeAspect="1" noChangeArrowheads="1"/>
            </p:cNvSpPr>
            <p:nvPr userDrawn="1"/>
          </p:nvSpPr>
          <p:spPr bwMode="auto">
            <a:xfrm>
              <a:off x="679893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9" name="Oval 378"/>
            <p:cNvSpPr>
              <a:spLocks noChangeAspect="1" noChangeArrowheads="1"/>
            </p:cNvSpPr>
            <p:nvPr userDrawn="1"/>
          </p:nvSpPr>
          <p:spPr bwMode="auto">
            <a:xfrm>
              <a:off x="6912014"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0" name="Oval 379"/>
            <p:cNvSpPr>
              <a:spLocks noChangeAspect="1" noChangeArrowheads="1"/>
            </p:cNvSpPr>
            <p:nvPr userDrawn="1"/>
          </p:nvSpPr>
          <p:spPr bwMode="auto">
            <a:xfrm>
              <a:off x="702359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1" name="Oval 380"/>
            <p:cNvSpPr>
              <a:spLocks noChangeAspect="1" noChangeArrowheads="1"/>
            </p:cNvSpPr>
            <p:nvPr userDrawn="1"/>
          </p:nvSpPr>
          <p:spPr bwMode="auto">
            <a:xfrm>
              <a:off x="7136674"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2" name="Oval 381"/>
            <p:cNvSpPr>
              <a:spLocks noChangeAspect="1" noChangeArrowheads="1"/>
            </p:cNvSpPr>
            <p:nvPr userDrawn="1"/>
          </p:nvSpPr>
          <p:spPr bwMode="auto">
            <a:xfrm>
              <a:off x="7248250"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3" name="Oval 382"/>
            <p:cNvSpPr>
              <a:spLocks noChangeAspect="1" noChangeArrowheads="1"/>
            </p:cNvSpPr>
            <p:nvPr userDrawn="1"/>
          </p:nvSpPr>
          <p:spPr bwMode="auto">
            <a:xfrm>
              <a:off x="7361334"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4" name="Oval 383"/>
            <p:cNvSpPr>
              <a:spLocks noChangeAspect="1" noChangeArrowheads="1"/>
            </p:cNvSpPr>
            <p:nvPr userDrawn="1"/>
          </p:nvSpPr>
          <p:spPr bwMode="auto">
            <a:xfrm>
              <a:off x="747291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5" name="Oval 384"/>
            <p:cNvSpPr>
              <a:spLocks noChangeAspect="1" noChangeArrowheads="1"/>
            </p:cNvSpPr>
            <p:nvPr userDrawn="1"/>
          </p:nvSpPr>
          <p:spPr bwMode="auto">
            <a:xfrm>
              <a:off x="7585994"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6" name="Oval 385"/>
            <p:cNvSpPr>
              <a:spLocks noChangeAspect="1" noChangeArrowheads="1"/>
            </p:cNvSpPr>
            <p:nvPr userDrawn="1"/>
          </p:nvSpPr>
          <p:spPr bwMode="auto">
            <a:xfrm>
              <a:off x="7697570"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7" name="Oval 386"/>
            <p:cNvSpPr>
              <a:spLocks noChangeAspect="1" noChangeArrowheads="1"/>
            </p:cNvSpPr>
            <p:nvPr userDrawn="1"/>
          </p:nvSpPr>
          <p:spPr bwMode="auto">
            <a:xfrm>
              <a:off x="7810653"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8" name="Oval 387"/>
            <p:cNvSpPr>
              <a:spLocks noChangeAspect="1" noChangeArrowheads="1"/>
            </p:cNvSpPr>
            <p:nvPr userDrawn="1"/>
          </p:nvSpPr>
          <p:spPr bwMode="auto">
            <a:xfrm>
              <a:off x="7922229"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9" name="Oval 388"/>
            <p:cNvSpPr>
              <a:spLocks noChangeAspect="1" noChangeArrowheads="1"/>
            </p:cNvSpPr>
            <p:nvPr userDrawn="1"/>
          </p:nvSpPr>
          <p:spPr bwMode="auto">
            <a:xfrm>
              <a:off x="8035314"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0" name="Oval 389"/>
            <p:cNvSpPr>
              <a:spLocks noChangeAspect="1" noChangeArrowheads="1"/>
            </p:cNvSpPr>
            <p:nvPr userDrawn="1"/>
          </p:nvSpPr>
          <p:spPr bwMode="auto">
            <a:xfrm>
              <a:off x="8146890"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1" name="Oval 390"/>
            <p:cNvSpPr>
              <a:spLocks noChangeAspect="1" noChangeArrowheads="1"/>
            </p:cNvSpPr>
            <p:nvPr userDrawn="1"/>
          </p:nvSpPr>
          <p:spPr bwMode="auto">
            <a:xfrm>
              <a:off x="8259973"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2" name="Oval 391"/>
            <p:cNvSpPr>
              <a:spLocks noChangeAspect="1" noChangeArrowheads="1"/>
            </p:cNvSpPr>
            <p:nvPr userDrawn="1"/>
          </p:nvSpPr>
          <p:spPr bwMode="auto">
            <a:xfrm>
              <a:off x="8371549"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3" name="Oval 392"/>
            <p:cNvSpPr>
              <a:spLocks noChangeAspect="1" noChangeArrowheads="1"/>
            </p:cNvSpPr>
            <p:nvPr userDrawn="1"/>
          </p:nvSpPr>
          <p:spPr bwMode="auto">
            <a:xfrm>
              <a:off x="395371"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4" name="Oval 393"/>
            <p:cNvSpPr>
              <a:spLocks noChangeAspect="1" noChangeArrowheads="1"/>
            </p:cNvSpPr>
            <p:nvPr userDrawn="1"/>
          </p:nvSpPr>
          <p:spPr bwMode="auto">
            <a:xfrm>
              <a:off x="506947"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5" name="Oval 394"/>
            <p:cNvSpPr>
              <a:spLocks noChangeAspect="1" noChangeArrowheads="1"/>
            </p:cNvSpPr>
            <p:nvPr userDrawn="1"/>
          </p:nvSpPr>
          <p:spPr bwMode="auto">
            <a:xfrm>
              <a:off x="62003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6" name="Oval 395"/>
            <p:cNvSpPr>
              <a:spLocks noChangeAspect="1" noChangeArrowheads="1"/>
            </p:cNvSpPr>
            <p:nvPr userDrawn="1"/>
          </p:nvSpPr>
          <p:spPr bwMode="auto">
            <a:xfrm>
              <a:off x="731607"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7" name="Oval 396"/>
            <p:cNvSpPr>
              <a:spLocks noChangeAspect="1" noChangeArrowheads="1"/>
            </p:cNvSpPr>
            <p:nvPr userDrawn="1"/>
          </p:nvSpPr>
          <p:spPr bwMode="auto">
            <a:xfrm>
              <a:off x="1180927"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8" name="Oval 397"/>
            <p:cNvSpPr>
              <a:spLocks noChangeAspect="1" noChangeArrowheads="1"/>
            </p:cNvSpPr>
            <p:nvPr userDrawn="1"/>
          </p:nvSpPr>
          <p:spPr bwMode="auto">
            <a:xfrm>
              <a:off x="129401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9" name="Oval 398"/>
            <p:cNvSpPr>
              <a:spLocks noChangeAspect="1" noChangeArrowheads="1"/>
            </p:cNvSpPr>
            <p:nvPr userDrawn="1"/>
          </p:nvSpPr>
          <p:spPr bwMode="auto">
            <a:xfrm>
              <a:off x="1405586"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0" name="Oval 399"/>
            <p:cNvSpPr>
              <a:spLocks noChangeAspect="1" noChangeArrowheads="1"/>
            </p:cNvSpPr>
            <p:nvPr userDrawn="1"/>
          </p:nvSpPr>
          <p:spPr bwMode="auto">
            <a:xfrm>
              <a:off x="151867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1" name="Oval 400"/>
            <p:cNvSpPr>
              <a:spLocks noChangeAspect="1" noChangeArrowheads="1"/>
            </p:cNvSpPr>
            <p:nvPr userDrawn="1"/>
          </p:nvSpPr>
          <p:spPr bwMode="auto">
            <a:xfrm>
              <a:off x="1630247"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2" name="Oval 401"/>
            <p:cNvSpPr>
              <a:spLocks noChangeAspect="1" noChangeArrowheads="1"/>
            </p:cNvSpPr>
            <p:nvPr userDrawn="1"/>
          </p:nvSpPr>
          <p:spPr bwMode="auto">
            <a:xfrm>
              <a:off x="174333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3" name="Oval 402"/>
            <p:cNvSpPr>
              <a:spLocks noChangeAspect="1" noChangeArrowheads="1"/>
            </p:cNvSpPr>
            <p:nvPr userDrawn="1"/>
          </p:nvSpPr>
          <p:spPr bwMode="auto">
            <a:xfrm>
              <a:off x="1854906"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4" name="Oval 403"/>
            <p:cNvSpPr>
              <a:spLocks noChangeAspect="1" noChangeArrowheads="1"/>
            </p:cNvSpPr>
            <p:nvPr userDrawn="1"/>
          </p:nvSpPr>
          <p:spPr bwMode="auto">
            <a:xfrm>
              <a:off x="1967990"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5" name="Oval 404"/>
            <p:cNvSpPr>
              <a:spLocks noChangeAspect="1" noChangeArrowheads="1"/>
            </p:cNvSpPr>
            <p:nvPr userDrawn="1"/>
          </p:nvSpPr>
          <p:spPr bwMode="auto">
            <a:xfrm>
              <a:off x="2079566"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6" name="Oval 405"/>
            <p:cNvSpPr>
              <a:spLocks noChangeAspect="1" noChangeArrowheads="1"/>
            </p:cNvSpPr>
            <p:nvPr userDrawn="1"/>
          </p:nvSpPr>
          <p:spPr bwMode="auto">
            <a:xfrm>
              <a:off x="2528886"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7" name="Oval 406"/>
            <p:cNvSpPr>
              <a:spLocks noChangeAspect="1" noChangeArrowheads="1"/>
            </p:cNvSpPr>
            <p:nvPr userDrawn="1"/>
          </p:nvSpPr>
          <p:spPr bwMode="auto">
            <a:xfrm>
              <a:off x="2641969"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8" name="Oval 407"/>
            <p:cNvSpPr>
              <a:spLocks noChangeAspect="1" noChangeArrowheads="1"/>
            </p:cNvSpPr>
            <p:nvPr userDrawn="1"/>
          </p:nvSpPr>
          <p:spPr bwMode="auto">
            <a:xfrm>
              <a:off x="2753545"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9" name="Oval 408"/>
            <p:cNvSpPr>
              <a:spLocks noChangeAspect="1" noChangeArrowheads="1"/>
            </p:cNvSpPr>
            <p:nvPr userDrawn="1"/>
          </p:nvSpPr>
          <p:spPr bwMode="auto">
            <a:xfrm>
              <a:off x="4214589" y="2178551"/>
              <a:ext cx="85943" cy="85944"/>
            </a:xfrm>
            <a:prstGeom prst="ellipse">
              <a:avLst/>
            </a:prstGeom>
            <a:grpFill/>
            <a:ln>
              <a:solidFill>
                <a:schemeClr val="bg1">
                  <a:lumMod val="75000"/>
                </a:schemeClr>
              </a:solidFill>
            </a:ln>
            <a:effectLst/>
          </p:spPr>
          <p:txBody>
            <a:bodyPr wrap="none" anchor="ctr"/>
            <a:lstStyle/>
            <a:p>
              <a:pPr defTabSz="1218987"/>
              <a:endParaRPr lang="en-US" sz="2400" dirty="0">
                <a:solidFill>
                  <a:srgbClr val="292929"/>
                </a:solidFill>
              </a:endParaRPr>
            </a:p>
          </p:txBody>
        </p:sp>
        <p:sp>
          <p:nvSpPr>
            <p:cNvPr id="410" name="Oval 409"/>
            <p:cNvSpPr>
              <a:spLocks noChangeAspect="1" noChangeArrowheads="1"/>
            </p:cNvSpPr>
            <p:nvPr userDrawn="1"/>
          </p:nvSpPr>
          <p:spPr bwMode="auto">
            <a:xfrm>
              <a:off x="4439248"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1" name="Oval 410"/>
            <p:cNvSpPr>
              <a:spLocks noChangeAspect="1" noChangeArrowheads="1"/>
            </p:cNvSpPr>
            <p:nvPr userDrawn="1"/>
          </p:nvSpPr>
          <p:spPr bwMode="auto">
            <a:xfrm>
              <a:off x="4552332"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2" name="Oval 411"/>
            <p:cNvSpPr>
              <a:spLocks noChangeAspect="1" noChangeArrowheads="1"/>
            </p:cNvSpPr>
            <p:nvPr userDrawn="1"/>
          </p:nvSpPr>
          <p:spPr bwMode="auto">
            <a:xfrm>
              <a:off x="4663908"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3" name="Oval 412"/>
            <p:cNvSpPr>
              <a:spLocks noChangeAspect="1" noChangeArrowheads="1"/>
            </p:cNvSpPr>
            <p:nvPr userDrawn="1"/>
          </p:nvSpPr>
          <p:spPr bwMode="auto">
            <a:xfrm>
              <a:off x="4888568"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4" name="Oval 413"/>
            <p:cNvSpPr>
              <a:spLocks noChangeAspect="1" noChangeArrowheads="1"/>
            </p:cNvSpPr>
            <p:nvPr userDrawn="1"/>
          </p:nvSpPr>
          <p:spPr bwMode="auto">
            <a:xfrm>
              <a:off x="5001652"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5" name="Oval 414"/>
            <p:cNvSpPr>
              <a:spLocks noChangeAspect="1" noChangeArrowheads="1"/>
            </p:cNvSpPr>
            <p:nvPr userDrawn="1"/>
          </p:nvSpPr>
          <p:spPr bwMode="auto">
            <a:xfrm>
              <a:off x="5113228"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6" name="Oval 415"/>
            <p:cNvSpPr>
              <a:spLocks noChangeAspect="1" noChangeArrowheads="1"/>
            </p:cNvSpPr>
            <p:nvPr userDrawn="1"/>
          </p:nvSpPr>
          <p:spPr bwMode="auto">
            <a:xfrm>
              <a:off x="5226311"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7" name="Oval 416"/>
            <p:cNvSpPr>
              <a:spLocks noChangeAspect="1" noChangeArrowheads="1"/>
            </p:cNvSpPr>
            <p:nvPr userDrawn="1"/>
          </p:nvSpPr>
          <p:spPr bwMode="auto">
            <a:xfrm>
              <a:off x="5337887"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8" name="Oval 417"/>
            <p:cNvSpPr>
              <a:spLocks noChangeAspect="1" noChangeArrowheads="1"/>
            </p:cNvSpPr>
            <p:nvPr userDrawn="1"/>
          </p:nvSpPr>
          <p:spPr bwMode="auto">
            <a:xfrm>
              <a:off x="5450972"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9" name="Oval 418"/>
            <p:cNvSpPr>
              <a:spLocks noChangeAspect="1" noChangeArrowheads="1"/>
            </p:cNvSpPr>
            <p:nvPr userDrawn="1"/>
          </p:nvSpPr>
          <p:spPr bwMode="auto">
            <a:xfrm>
              <a:off x="5562548"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0" name="Oval 419"/>
            <p:cNvSpPr>
              <a:spLocks noChangeAspect="1" noChangeArrowheads="1"/>
            </p:cNvSpPr>
            <p:nvPr userDrawn="1"/>
          </p:nvSpPr>
          <p:spPr bwMode="auto">
            <a:xfrm>
              <a:off x="5675631"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1" name="Oval 420"/>
            <p:cNvSpPr>
              <a:spLocks noChangeAspect="1" noChangeArrowheads="1"/>
            </p:cNvSpPr>
            <p:nvPr userDrawn="1"/>
          </p:nvSpPr>
          <p:spPr bwMode="auto">
            <a:xfrm>
              <a:off x="5787207"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2" name="Oval 421"/>
            <p:cNvSpPr>
              <a:spLocks noChangeAspect="1" noChangeArrowheads="1"/>
            </p:cNvSpPr>
            <p:nvPr userDrawn="1"/>
          </p:nvSpPr>
          <p:spPr bwMode="auto">
            <a:xfrm>
              <a:off x="590029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3" name="Oval 422"/>
            <p:cNvSpPr>
              <a:spLocks noChangeAspect="1" noChangeArrowheads="1"/>
            </p:cNvSpPr>
            <p:nvPr userDrawn="1"/>
          </p:nvSpPr>
          <p:spPr bwMode="auto">
            <a:xfrm>
              <a:off x="6013375"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4" name="Oval 423"/>
            <p:cNvSpPr>
              <a:spLocks noChangeAspect="1" noChangeArrowheads="1"/>
            </p:cNvSpPr>
            <p:nvPr userDrawn="1"/>
          </p:nvSpPr>
          <p:spPr bwMode="auto">
            <a:xfrm>
              <a:off x="6124951"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5" name="Oval 424"/>
            <p:cNvSpPr>
              <a:spLocks noChangeAspect="1" noChangeArrowheads="1"/>
            </p:cNvSpPr>
            <p:nvPr userDrawn="1"/>
          </p:nvSpPr>
          <p:spPr bwMode="auto">
            <a:xfrm>
              <a:off x="6238035"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6" name="Oval 425"/>
            <p:cNvSpPr>
              <a:spLocks noChangeAspect="1" noChangeArrowheads="1"/>
            </p:cNvSpPr>
            <p:nvPr userDrawn="1"/>
          </p:nvSpPr>
          <p:spPr bwMode="auto">
            <a:xfrm>
              <a:off x="634961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7" name="Oval 426"/>
            <p:cNvSpPr>
              <a:spLocks noChangeAspect="1" noChangeArrowheads="1"/>
            </p:cNvSpPr>
            <p:nvPr userDrawn="1"/>
          </p:nvSpPr>
          <p:spPr bwMode="auto">
            <a:xfrm>
              <a:off x="6462694"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8" name="Oval 427"/>
            <p:cNvSpPr>
              <a:spLocks noChangeAspect="1" noChangeArrowheads="1"/>
            </p:cNvSpPr>
            <p:nvPr userDrawn="1"/>
          </p:nvSpPr>
          <p:spPr bwMode="auto">
            <a:xfrm>
              <a:off x="657427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9" name="Oval 428"/>
            <p:cNvSpPr>
              <a:spLocks noChangeAspect="1" noChangeArrowheads="1"/>
            </p:cNvSpPr>
            <p:nvPr userDrawn="1"/>
          </p:nvSpPr>
          <p:spPr bwMode="auto">
            <a:xfrm>
              <a:off x="6687355"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0" name="Oval 429"/>
            <p:cNvSpPr>
              <a:spLocks noChangeAspect="1" noChangeArrowheads="1"/>
            </p:cNvSpPr>
            <p:nvPr userDrawn="1"/>
          </p:nvSpPr>
          <p:spPr bwMode="auto">
            <a:xfrm>
              <a:off x="679893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1" name="Oval 430"/>
            <p:cNvSpPr>
              <a:spLocks noChangeAspect="1" noChangeArrowheads="1"/>
            </p:cNvSpPr>
            <p:nvPr userDrawn="1"/>
          </p:nvSpPr>
          <p:spPr bwMode="auto">
            <a:xfrm>
              <a:off x="6912014"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2" name="Oval 431"/>
            <p:cNvSpPr>
              <a:spLocks noChangeAspect="1" noChangeArrowheads="1"/>
            </p:cNvSpPr>
            <p:nvPr userDrawn="1"/>
          </p:nvSpPr>
          <p:spPr bwMode="auto">
            <a:xfrm>
              <a:off x="702359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3" name="Oval 432"/>
            <p:cNvSpPr>
              <a:spLocks noChangeAspect="1" noChangeArrowheads="1"/>
            </p:cNvSpPr>
            <p:nvPr userDrawn="1"/>
          </p:nvSpPr>
          <p:spPr bwMode="auto">
            <a:xfrm>
              <a:off x="7136674"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4" name="Oval 433"/>
            <p:cNvSpPr>
              <a:spLocks noChangeAspect="1" noChangeArrowheads="1"/>
            </p:cNvSpPr>
            <p:nvPr userDrawn="1"/>
          </p:nvSpPr>
          <p:spPr bwMode="auto">
            <a:xfrm>
              <a:off x="7248250"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5" name="Oval 434"/>
            <p:cNvSpPr>
              <a:spLocks noChangeAspect="1" noChangeArrowheads="1"/>
            </p:cNvSpPr>
            <p:nvPr userDrawn="1"/>
          </p:nvSpPr>
          <p:spPr bwMode="auto">
            <a:xfrm>
              <a:off x="7361334"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6" name="Oval 435"/>
            <p:cNvSpPr>
              <a:spLocks noChangeAspect="1" noChangeArrowheads="1"/>
            </p:cNvSpPr>
            <p:nvPr userDrawn="1"/>
          </p:nvSpPr>
          <p:spPr bwMode="auto">
            <a:xfrm>
              <a:off x="747291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7" name="Oval 436"/>
            <p:cNvSpPr>
              <a:spLocks noChangeAspect="1" noChangeArrowheads="1"/>
            </p:cNvSpPr>
            <p:nvPr userDrawn="1"/>
          </p:nvSpPr>
          <p:spPr bwMode="auto">
            <a:xfrm>
              <a:off x="7585994"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8" name="Oval 437"/>
            <p:cNvSpPr>
              <a:spLocks noChangeAspect="1" noChangeArrowheads="1"/>
            </p:cNvSpPr>
            <p:nvPr userDrawn="1"/>
          </p:nvSpPr>
          <p:spPr bwMode="auto">
            <a:xfrm>
              <a:off x="8035314"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9" name="Oval 438"/>
            <p:cNvSpPr>
              <a:spLocks noChangeAspect="1" noChangeArrowheads="1"/>
            </p:cNvSpPr>
            <p:nvPr userDrawn="1"/>
          </p:nvSpPr>
          <p:spPr bwMode="auto">
            <a:xfrm>
              <a:off x="8146890"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0" name="Oval 439"/>
            <p:cNvSpPr>
              <a:spLocks noChangeAspect="1" noChangeArrowheads="1"/>
            </p:cNvSpPr>
            <p:nvPr userDrawn="1"/>
          </p:nvSpPr>
          <p:spPr bwMode="auto">
            <a:xfrm>
              <a:off x="506947"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1" name="Oval 440"/>
            <p:cNvSpPr>
              <a:spLocks noChangeAspect="1" noChangeArrowheads="1"/>
            </p:cNvSpPr>
            <p:nvPr userDrawn="1"/>
          </p:nvSpPr>
          <p:spPr bwMode="auto">
            <a:xfrm>
              <a:off x="62003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2" name="Oval 441"/>
            <p:cNvSpPr>
              <a:spLocks noChangeAspect="1" noChangeArrowheads="1"/>
            </p:cNvSpPr>
            <p:nvPr userDrawn="1"/>
          </p:nvSpPr>
          <p:spPr bwMode="auto">
            <a:xfrm>
              <a:off x="731607"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3" name="Oval 442"/>
            <p:cNvSpPr>
              <a:spLocks noChangeAspect="1" noChangeArrowheads="1"/>
            </p:cNvSpPr>
            <p:nvPr userDrawn="1"/>
          </p:nvSpPr>
          <p:spPr bwMode="auto">
            <a:xfrm>
              <a:off x="1180927"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4" name="Oval 443"/>
            <p:cNvSpPr>
              <a:spLocks noChangeAspect="1" noChangeArrowheads="1"/>
            </p:cNvSpPr>
            <p:nvPr userDrawn="1"/>
          </p:nvSpPr>
          <p:spPr bwMode="auto">
            <a:xfrm>
              <a:off x="129401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5" name="Oval 444"/>
            <p:cNvSpPr>
              <a:spLocks noChangeAspect="1" noChangeArrowheads="1"/>
            </p:cNvSpPr>
            <p:nvPr userDrawn="1"/>
          </p:nvSpPr>
          <p:spPr bwMode="auto">
            <a:xfrm>
              <a:off x="1405586"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6" name="Oval 445"/>
            <p:cNvSpPr>
              <a:spLocks noChangeAspect="1" noChangeArrowheads="1"/>
            </p:cNvSpPr>
            <p:nvPr userDrawn="1"/>
          </p:nvSpPr>
          <p:spPr bwMode="auto">
            <a:xfrm>
              <a:off x="1518671"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7" name="Oval 446"/>
            <p:cNvSpPr>
              <a:spLocks noChangeAspect="1" noChangeArrowheads="1"/>
            </p:cNvSpPr>
            <p:nvPr userDrawn="1"/>
          </p:nvSpPr>
          <p:spPr bwMode="auto">
            <a:xfrm>
              <a:off x="1630247"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8" name="Oval 447"/>
            <p:cNvSpPr>
              <a:spLocks noChangeAspect="1" noChangeArrowheads="1"/>
            </p:cNvSpPr>
            <p:nvPr userDrawn="1"/>
          </p:nvSpPr>
          <p:spPr bwMode="auto">
            <a:xfrm>
              <a:off x="174333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9" name="Oval 448"/>
            <p:cNvSpPr>
              <a:spLocks noChangeAspect="1" noChangeArrowheads="1"/>
            </p:cNvSpPr>
            <p:nvPr userDrawn="1"/>
          </p:nvSpPr>
          <p:spPr bwMode="auto">
            <a:xfrm>
              <a:off x="1854906"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0" name="Oval 449"/>
            <p:cNvSpPr>
              <a:spLocks noChangeAspect="1" noChangeArrowheads="1"/>
            </p:cNvSpPr>
            <p:nvPr userDrawn="1"/>
          </p:nvSpPr>
          <p:spPr bwMode="auto">
            <a:xfrm>
              <a:off x="1967990"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1" name="Oval 450"/>
            <p:cNvSpPr>
              <a:spLocks noChangeAspect="1" noChangeArrowheads="1"/>
            </p:cNvSpPr>
            <p:nvPr userDrawn="1"/>
          </p:nvSpPr>
          <p:spPr bwMode="auto">
            <a:xfrm>
              <a:off x="2079566"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2" name="Oval 451"/>
            <p:cNvSpPr>
              <a:spLocks noChangeAspect="1" noChangeArrowheads="1"/>
            </p:cNvSpPr>
            <p:nvPr userDrawn="1"/>
          </p:nvSpPr>
          <p:spPr bwMode="auto">
            <a:xfrm>
              <a:off x="219265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3" name="Oval 452"/>
            <p:cNvSpPr>
              <a:spLocks noChangeAspect="1" noChangeArrowheads="1"/>
            </p:cNvSpPr>
            <p:nvPr userDrawn="1"/>
          </p:nvSpPr>
          <p:spPr bwMode="auto">
            <a:xfrm>
              <a:off x="2528886"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4" name="Oval 453"/>
            <p:cNvSpPr>
              <a:spLocks noChangeAspect="1" noChangeArrowheads="1"/>
            </p:cNvSpPr>
            <p:nvPr userDrawn="1"/>
          </p:nvSpPr>
          <p:spPr bwMode="auto">
            <a:xfrm>
              <a:off x="2641969"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5" name="Oval 454"/>
            <p:cNvSpPr>
              <a:spLocks noChangeAspect="1" noChangeArrowheads="1"/>
            </p:cNvSpPr>
            <p:nvPr userDrawn="1"/>
          </p:nvSpPr>
          <p:spPr bwMode="auto">
            <a:xfrm>
              <a:off x="2753545"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6" name="Oval 455"/>
            <p:cNvSpPr>
              <a:spLocks noChangeAspect="1" noChangeArrowheads="1"/>
            </p:cNvSpPr>
            <p:nvPr userDrawn="1"/>
          </p:nvSpPr>
          <p:spPr bwMode="auto">
            <a:xfrm>
              <a:off x="2866630"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7" name="Oval 456"/>
            <p:cNvSpPr>
              <a:spLocks noChangeAspect="1" noChangeArrowheads="1"/>
            </p:cNvSpPr>
            <p:nvPr userDrawn="1"/>
          </p:nvSpPr>
          <p:spPr bwMode="auto">
            <a:xfrm>
              <a:off x="4214589"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8" name="Oval 457"/>
            <p:cNvSpPr>
              <a:spLocks noChangeAspect="1" noChangeArrowheads="1"/>
            </p:cNvSpPr>
            <p:nvPr userDrawn="1"/>
          </p:nvSpPr>
          <p:spPr bwMode="auto">
            <a:xfrm>
              <a:off x="4552332"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9" name="Oval 458"/>
            <p:cNvSpPr>
              <a:spLocks noChangeAspect="1" noChangeArrowheads="1"/>
            </p:cNvSpPr>
            <p:nvPr userDrawn="1"/>
          </p:nvSpPr>
          <p:spPr bwMode="auto">
            <a:xfrm>
              <a:off x="4888568"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0" name="Oval 459"/>
            <p:cNvSpPr>
              <a:spLocks noChangeAspect="1" noChangeArrowheads="1"/>
            </p:cNvSpPr>
            <p:nvPr userDrawn="1"/>
          </p:nvSpPr>
          <p:spPr bwMode="auto">
            <a:xfrm>
              <a:off x="5001652"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1" name="Oval 460"/>
            <p:cNvSpPr>
              <a:spLocks noChangeAspect="1" noChangeArrowheads="1"/>
            </p:cNvSpPr>
            <p:nvPr userDrawn="1"/>
          </p:nvSpPr>
          <p:spPr bwMode="auto">
            <a:xfrm>
              <a:off x="5113228"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2" name="Oval 461"/>
            <p:cNvSpPr>
              <a:spLocks noChangeAspect="1" noChangeArrowheads="1"/>
            </p:cNvSpPr>
            <p:nvPr userDrawn="1"/>
          </p:nvSpPr>
          <p:spPr bwMode="auto">
            <a:xfrm>
              <a:off x="5226311"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3" name="Oval 462"/>
            <p:cNvSpPr>
              <a:spLocks noChangeAspect="1" noChangeArrowheads="1"/>
            </p:cNvSpPr>
            <p:nvPr userDrawn="1"/>
          </p:nvSpPr>
          <p:spPr bwMode="auto">
            <a:xfrm>
              <a:off x="5337887"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4" name="Oval 463"/>
            <p:cNvSpPr>
              <a:spLocks noChangeAspect="1" noChangeArrowheads="1"/>
            </p:cNvSpPr>
            <p:nvPr userDrawn="1"/>
          </p:nvSpPr>
          <p:spPr bwMode="auto">
            <a:xfrm>
              <a:off x="5450972"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5" name="Oval 464"/>
            <p:cNvSpPr>
              <a:spLocks noChangeAspect="1" noChangeArrowheads="1"/>
            </p:cNvSpPr>
            <p:nvPr userDrawn="1"/>
          </p:nvSpPr>
          <p:spPr bwMode="auto">
            <a:xfrm>
              <a:off x="5562548"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6" name="Oval 465"/>
            <p:cNvSpPr>
              <a:spLocks noChangeAspect="1" noChangeArrowheads="1"/>
            </p:cNvSpPr>
            <p:nvPr userDrawn="1"/>
          </p:nvSpPr>
          <p:spPr bwMode="auto">
            <a:xfrm>
              <a:off x="5675631"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7" name="Oval 466"/>
            <p:cNvSpPr>
              <a:spLocks noChangeAspect="1" noChangeArrowheads="1"/>
            </p:cNvSpPr>
            <p:nvPr userDrawn="1"/>
          </p:nvSpPr>
          <p:spPr bwMode="auto">
            <a:xfrm>
              <a:off x="5787207"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8" name="Oval 467"/>
            <p:cNvSpPr>
              <a:spLocks noChangeAspect="1" noChangeArrowheads="1"/>
            </p:cNvSpPr>
            <p:nvPr userDrawn="1"/>
          </p:nvSpPr>
          <p:spPr bwMode="auto">
            <a:xfrm>
              <a:off x="5900291"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9" name="Oval 468"/>
            <p:cNvSpPr>
              <a:spLocks noChangeAspect="1" noChangeArrowheads="1"/>
            </p:cNvSpPr>
            <p:nvPr userDrawn="1"/>
          </p:nvSpPr>
          <p:spPr bwMode="auto">
            <a:xfrm>
              <a:off x="6013375"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0" name="Oval 469"/>
            <p:cNvSpPr>
              <a:spLocks noChangeAspect="1" noChangeArrowheads="1"/>
            </p:cNvSpPr>
            <p:nvPr userDrawn="1"/>
          </p:nvSpPr>
          <p:spPr bwMode="auto">
            <a:xfrm>
              <a:off x="6124951"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1" name="Oval 470"/>
            <p:cNvSpPr>
              <a:spLocks noChangeAspect="1" noChangeArrowheads="1"/>
            </p:cNvSpPr>
            <p:nvPr userDrawn="1"/>
          </p:nvSpPr>
          <p:spPr bwMode="auto">
            <a:xfrm>
              <a:off x="6238035"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2" name="Oval 471"/>
            <p:cNvSpPr>
              <a:spLocks noChangeAspect="1" noChangeArrowheads="1"/>
            </p:cNvSpPr>
            <p:nvPr userDrawn="1"/>
          </p:nvSpPr>
          <p:spPr bwMode="auto">
            <a:xfrm>
              <a:off x="6349611"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3" name="Oval 472"/>
            <p:cNvSpPr>
              <a:spLocks noChangeAspect="1" noChangeArrowheads="1"/>
            </p:cNvSpPr>
            <p:nvPr userDrawn="1"/>
          </p:nvSpPr>
          <p:spPr bwMode="auto">
            <a:xfrm>
              <a:off x="6462694"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4" name="Oval 473"/>
            <p:cNvSpPr>
              <a:spLocks noChangeAspect="1" noChangeArrowheads="1"/>
            </p:cNvSpPr>
            <p:nvPr userDrawn="1"/>
          </p:nvSpPr>
          <p:spPr bwMode="auto">
            <a:xfrm>
              <a:off x="657427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5" name="Oval 474"/>
            <p:cNvSpPr>
              <a:spLocks noChangeAspect="1" noChangeArrowheads="1"/>
            </p:cNvSpPr>
            <p:nvPr userDrawn="1"/>
          </p:nvSpPr>
          <p:spPr bwMode="auto">
            <a:xfrm>
              <a:off x="6687355"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6" name="Oval 475"/>
            <p:cNvSpPr>
              <a:spLocks noChangeAspect="1" noChangeArrowheads="1"/>
            </p:cNvSpPr>
            <p:nvPr userDrawn="1"/>
          </p:nvSpPr>
          <p:spPr bwMode="auto">
            <a:xfrm>
              <a:off x="6798931"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7" name="Oval 476"/>
            <p:cNvSpPr>
              <a:spLocks noChangeAspect="1" noChangeArrowheads="1"/>
            </p:cNvSpPr>
            <p:nvPr userDrawn="1"/>
          </p:nvSpPr>
          <p:spPr bwMode="auto">
            <a:xfrm>
              <a:off x="6912014"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8" name="Oval 477"/>
            <p:cNvSpPr>
              <a:spLocks noChangeAspect="1" noChangeArrowheads="1"/>
            </p:cNvSpPr>
            <p:nvPr userDrawn="1"/>
          </p:nvSpPr>
          <p:spPr bwMode="auto">
            <a:xfrm>
              <a:off x="702359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9" name="Oval 478"/>
            <p:cNvSpPr>
              <a:spLocks noChangeAspect="1" noChangeArrowheads="1"/>
            </p:cNvSpPr>
            <p:nvPr userDrawn="1"/>
          </p:nvSpPr>
          <p:spPr bwMode="auto">
            <a:xfrm>
              <a:off x="7136674"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0" name="Oval 479"/>
            <p:cNvSpPr>
              <a:spLocks noChangeAspect="1" noChangeArrowheads="1"/>
            </p:cNvSpPr>
            <p:nvPr userDrawn="1"/>
          </p:nvSpPr>
          <p:spPr bwMode="auto">
            <a:xfrm>
              <a:off x="7248250"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1" name="Oval 480"/>
            <p:cNvSpPr>
              <a:spLocks noChangeAspect="1" noChangeArrowheads="1"/>
            </p:cNvSpPr>
            <p:nvPr userDrawn="1"/>
          </p:nvSpPr>
          <p:spPr bwMode="auto">
            <a:xfrm>
              <a:off x="7361334"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2" name="Oval 481"/>
            <p:cNvSpPr>
              <a:spLocks noChangeAspect="1" noChangeArrowheads="1"/>
            </p:cNvSpPr>
            <p:nvPr userDrawn="1"/>
          </p:nvSpPr>
          <p:spPr bwMode="auto">
            <a:xfrm>
              <a:off x="747291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3" name="Oval 482"/>
            <p:cNvSpPr>
              <a:spLocks noChangeAspect="1" noChangeArrowheads="1"/>
            </p:cNvSpPr>
            <p:nvPr userDrawn="1"/>
          </p:nvSpPr>
          <p:spPr bwMode="auto">
            <a:xfrm>
              <a:off x="8035314"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4" name="Oval 483"/>
            <p:cNvSpPr>
              <a:spLocks noChangeAspect="1" noChangeArrowheads="1"/>
            </p:cNvSpPr>
            <p:nvPr userDrawn="1"/>
          </p:nvSpPr>
          <p:spPr bwMode="auto">
            <a:xfrm>
              <a:off x="8146890"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5" name="Oval 484"/>
            <p:cNvSpPr>
              <a:spLocks noChangeAspect="1" noChangeArrowheads="1"/>
            </p:cNvSpPr>
            <p:nvPr userDrawn="1"/>
          </p:nvSpPr>
          <p:spPr bwMode="auto">
            <a:xfrm>
              <a:off x="506947"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6" name="Oval 485"/>
            <p:cNvSpPr>
              <a:spLocks noChangeAspect="1" noChangeArrowheads="1"/>
            </p:cNvSpPr>
            <p:nvPr userDrawn="1"/>
          </p:nvSpPr>
          <p:spPr bwMode="auto">
            <a:xfrm>
              <a:off x="1180927"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7" name="Oval 486"/>
            <p:cNvSpPr>
              <a:spLocks noChangeAspect="1" noChangeArrowheads="1"/>
            </p:cNvSpPr>
            <p:nvPr userDrawn="1"/>
          </p:nvSpPr>
          <p:spPr bwMode="auto">
            <a:xfrm>
              <a:off x="129401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8" name="Oval 487"/>
            <p:cNvSpPr>
              <a:spLocks noChangeAspect="1" noChangeArrowheads="1"/>
            </p:cNvSpPr>
            <p:nvPr userDrawn="1"/>
          </p:nvSpPr>
          <p:spPr bwMode="auto">
            <a:xfrm>
              <a:off x="1405586"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9" name="Oval 488"/>
            <p:cNvSpPr>
              <a:spLocks noChangeAspect="1" noChangeArrowheads="1"/>
            </p:cNvSpPr>
            <p:nvPr userDrawn="1"/>
          </p:nvSpPr>
          <p:spPr bwMode="auto">
            <a:xfrm>
              <a:off x="1518671"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0" name="Oval 489"/>
            <p:cNvSpPr>
              <a:spLocks noChangeAspect="1" noChangeArrowheads="1"/>
            </p:cNvSpPr>
            <p:nvPr userDrawn="1"/>
          </p:nvSpPr>
          <p:spPr bwMode="auto">
            <a:xfrm>
              <a:off x="1630247"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1" name="Oval 490"/>
            <p:cNvSpPr>
              <a:spLocks noChangeAspect="1" noChangeArrowheads="1"/>
            </p:cNvSpPr>
            <p:nvPr userDrawn="1"/>
          </p:nvSpPr>
          <p:spPr bwMode="auto">
            <a:xfrm>
              <a:off x="174333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2" name="Oval 491"/>
            <p:cNvSpPr>
              <a:spLocks noChangeAspect="1" noChangeArrowheads="1"/>
            </p:cNvSpPr>
            <p:nvPr userDrawn="1"/>
          </p:nvSpPr>
          <p:spPr bwMode="auto">
            <a:xfrm>
              <a:off x="1854906"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3" name="Oval 492"/>
            <p:cNvSpPr>
              <a:spLocks noChangeAspect="1" noChangeArrowheads="1"/>
            </p:cNvSpPr>
            <p:nvPr userDrawn="1"/>
          </p:nvSpPr>
          <p:spPr bwMode="auto">
            <a:xfrm>
              <a:off x="196799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4" name="Oval 493"/>
            <p:cNvSpPr>
              <a:spLocks noChangeAspect="1" noChangeArrowheads="1"/>
            </p:cNvSpPr>
            <p:nvPr userDrawn="1"/>
          </p:nvSpPr>
          <p:spPr bwMode="auto">
            <a:xfrm>
              <a:off x="2079566"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5" name="Oval 494"/>
            <p:cNvSpPr>
              <a:spLocks noChangeAspect="1" noChangeArrowheads="1"/>
            </p:cNvSpPr>
            <p:nvPr userDrawn="1"/>
          </p:nvSpPr>
          <p:spPr bwMode="auto">
            <a:xfrm>
              <a:off x="219265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6" name="Oval 495"/>
            <p:cNvSpPr>
              <a:spLocks noChangeAspect="1" noChangeArrowheads="1"/>
            </p:cNvSpPr>
            <p:nvPr userDrawn="1"/>
          </p:nvSpPr>
          <p:spPr bwMode="auto">
            <a:xfrm>
              <a:off x="2304226"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7" name="Oval 496"/>
            <p:cNvSpPr>
              <a:spLocks noChangeAspect="1" noChangeArrowheads="1"/>
            </p:cNvSpPr>
            <p:nvPr userDrawn="1"/>
          </p:nvSpPr>
          <p:spPr bwMode="auto">
            <a:xfrm>
              <a:off x="241731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8" name="Oval 497"/>
            <p:cNvSpPr>
              <a:spLocks noChangeAspect="1" noChangeArrowheads="1"/>
            </p:cNvSpPr>
            <p:nvPr userDrawn="1"/>
          </p:nvSpPr>
          <p:spPr bwMode="auto">
            <a:xfrm>
              <a:off x="2528886"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9" name="Oval 498"/>
            <p:cNvSpPr>
              <a:spLocks noChangeAspect="1" noChangeArrowheads="1"/>
            </p:cNvSpPr>
            <p:nvPr userDrawn="1"/>
          </p:nvSpPr>
          <p:spPr bwMode="auto">
            <a:xfrm>
              <a:off x="2641969"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0" name="Oval 499"/>
            <p:cNvSpPr>
              <a:spLocks noChangeAspect="1" noChangeArrowheads="1"/>
            </p:cNvSpPr>
            <p:nvPr userDrawn="1"/>
          </p:nvSpPr>
          <p:spPr bwMode="auto">
            <a:xfrm>
              <a:off x="2753545"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1" name="Oval 500"/>
            <p:cNvSpPr>
              <a:spLocks noChangeAspect="1" noChangeArrowheads="1"/>
            </p:cNvSpPr>
            <p:nvPr userDrawn="1"/>
          </p:nvSpPr>
          <p:spPr bwMode="auto">
            <a:xfrm>
              <a:off x="286663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2" name="Oval 501"/>
            <p:cNvSpPr>
              <a:spLocks noChangeAspect="1" noChangeArrowheads="1"/>
            </p:cNvSpPr>
            <p:nvPr userDrawn="1"/>
          </p:nvSpPr>
          <p:spPr bwMode="auto">
            <a:xfrm>
              <a:off x="2978206"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3" name="Oval 502"/>
            <p:cNvSpPr>
              <a:spLocks noChangeAspect="1" noChangeArrowheads="1"/>
            </p:cNvSpPr>
            <p:nvPr userDrawn="1"/>
          </p:nvSpPr>
          <p:spPr bwMode="auto">
            <a:xfrm>
              <a:off x="4103013"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4" name="Oval 503"/>
            <p:cNvSpPr>
              <a:spLocks noChangeAspect="1" noChangeArrowheads="1"/>
            </p:cNvSpPr>
            <p:nvPr userDrawn="1"/>
          </p:nvSpPr>
          <p:spPr bwMode="auto">
            <a:xfrm>
              <a:off x="4214589"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5" name="Oval 504"/>
            <p:cNvSpPr>
              <a:spLocks noChangeAspect="1" noChangeArrowheads="1"/>
            </p:cNvSpPr>
            <p:nvPr userDrawn="1"/>
          </p:nvSpPr>
          <p:spPr bwMode="auto">
            <a:xfrm>
              <a:off x="4327672"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6" name="Oval 505"/>
            <p:cNvSpPr>
              <a:spLocks noChangeAspect="1" noChangeArrowheads="1"/>
            </p:cNvSpPr>
            <p:nvPr userDrawn="1"/>
          </p:nvSpPr>
          <p:spPr bwMode="auto">
            <a:xfrm>
              <a:off x="4439248"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7" name="Oval 506"/>
            <p:cNvSpPr>
              <a:spLocks noChangeAspect="1" noChangeArrowheads="1"/>
            </p:cNvSpPr>
            <p:nvPr userDrawn="1"/>
          </p:nvSpPr>
          <p:spPr bwMode="auto">
            <a:xfrm>
              <a:off x="4552332"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8" name="Oval 507"/>
            <p:cNvSpPr>
              <a:spLocks noChangeAspect="1" noChangeArrowheads="1"/>
            </p:cNvSpPr>
            <p:nvPr userDrawn="1"/>
          </p:nvSpPr>
          <p:spPr bwMode="auto">
            <a:xfrm>
              <a:off x="4663908"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9" name="Oval 508"/>
            <p:cNvSpPr>
              <a:spLocks noChangeAspect="1" noChangeArrowheads="1"/>
            </p:cNvSpPr>
            <p:nvPr userDrawn="1"/>
          </p:nvSpPr>
          <p:spPr bwMode="auto">
            <a:xfrm>
              <a:off x="4776992"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0" name="Oval 509"/>
            <p:cNvSpPr>
              <a:spLocks noChangeAspect="1" noChangeArrowheads="1"/>
            </p:cNvSpPr>
            <p:nvPr userDrawn="1"/>
          </p:nvSpPr>
          <p:spPr bwMode="auto">
            <a:xfrm>
              <a:off x="4888568" y="2385118"/>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511" name="Oval 510"/>
            <p:cNvSpPr>
              <a:spLocks noChangeAspect="1" noChangeArrowheads="1"/>
            </p:cNvSpPr>
            <p:nvPr userDrawn="1"/>
          </p:nvSpPr>
          <p:spPr bwMode="auto">
            <a:xfrm>
              <a:off x="5001652"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2" name="Oval 511"/>
            <p:cNvSpPr>
              <a:spLocks noChangeAspect="1" noChangeArrowheads="1"/>
            </p:cNvSpPr>
            <p:nvPr userDrawn="1"/>
          </p:nvSpPr>
          <p:spPr bwMode="auto">
            <a:xfrm>
              <a:off x="5113228"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3" name="Oval 512"/>
            <p:cNvSpPr>
              <a:spLocks noChangeAspect="1" noChangeArrowheads="1"/>
            </p:cNvSpPr>
            <p:nvPr userDrawn="1"/>
          </p:nvSpPr>
          <p:spPr bwMode="auto">
            <a:xfrm>
              <a:off x="5226311"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4" name="Oval 513"/>
            <p:cNvSpPr>
              <a:spLocks noChangeAspect="1" noChangeArrowheads="1"/>
            </p:cNvSpPr>
            <p:nvPr userDrawn="1"/>
          </p:nvSpPr>
          <p:spPr bwMode="auto">
            <a:xfrm>
              <a:off x="5337887"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5" name="Oval 514"/>
            <p:cNvSpPr>
              <a:spLocks noChangeAspect="1" noChangeArrowheads="1"/>
            </p:cNvSpPr>
            <p:nvPr userDrawn="1"/>
          </p:nvSpPr>
          <p:spPr bwMode="auto">
            <a:xfrm>
              <a:off x="5450972"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6" name="Oval 515"/>
            <p:cNvSpPr>
              <a:spLocks noChangeAspect="1" noChangeArrowheads="1"/>
            </p:cNvSpPr>
            <p:nvPr userDrawn="1"/>
          </p:nvSpPr>
          <p:spPr bwMode="auto">
            <a:xfrm>
              <a:off x="5562548"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7" name="Oval 516"/>
            <p:cNvSpPr>
              <a:spLocks noChangeAspect="1" noChangeArrowheads="1"/>
            </p:cNvSpPr>
            <p:nvPr userDrawn="1"/>
          </p:nvSpPr>
          <p:spPr bwMode="auto">
            <a:xfrm>
              <a:off x="5675631"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8" name="Oval 517"/>
            <p:cNvSpPr>
              <a:spLocks noChangeAspect="1" noChangeArrowheads="1"/>
            </p:cNvSpPr>
            <p:nvPr userDrawn="1"/>
          </p:nvSpPr>
          <p:spPr bwMode="auto">
            <a:xfrm>
              <a:off x="5787207"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9" name="Oval 518"/>
            <p:cNvSpPr>
              <a:spLocks noChangeAspect="1" noChangeArrowheads="1"/>
            </p:cNvSpPr>
            <p:nvPr userDrawn="1"/>
          </p:nvSpPr>
          <p:spPr bwMode="auto">
            <a:xfrm>
              <a:off x="5900291"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0" name="Oval 519"/>
            <p:cNvSpPr>
              <a:spLocks noChangeAspect="1" noChangeArrowheads="1"/>
            </p:cNvSpPr>
            <p:nvPr userDrawn="1"/>
          </p:nvSpPr>
          <p:spPr bwMode="auto">
            <a:xfrm>
              <a:off x="6013375"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1" name="Oval 520"/>
            <p:cNvSpPr>
              <a:spLocks noChangeAspect="1" noChangeArrowheads="1"/>
            </p:cNvSpPr>
            <p:nvPr userDrawn="1"/>
          </p:nvSpPr>
          <p:spPr bwMode="auto">
            <a:xfrm>
              <a:off x="6124951"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2" name="Oval 521"/>
            <p:cNvSpPr>
              <a:spLocks noChangeAspect="1" noChangeArrowheads="1"/>
            </p:cNvSpPr>
            <p:nvPr userDrawn="1"/>
          </p:nvSpPr>
          <p:spPr bwMode="auto">
            <a:xfrm>
              <a:off x="6238035"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3" name="Oval 522"/>
            <p:cNvSpPr>
              <a:spLocks noChangeAspect="1" noChangeArrowheads="1"/>
            </p:cNvSpPr>
            <p:nvPr userDrawn="1"/>
          </p:nvSpPr>
          <p:spPr bwMode="auto">
            <a:xfrm>
              <a:off x="6349611"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4" name="Oval 523"/>
            <p:cNvSpPr>
              <a:spLocks noChangeAspect="1" noChangeArrowheads="1"/>
            </p:cNvSpPr>
            <p:nvPr userDrawn="1"/>
          </p:nvSpPr>
          <p:spPr bwMode="auto">
            <a:xfrm>
              <a:off x="6462694"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5" name="Oval 524"/>
            <p:cNvSpPr>
              <a:spLocks noChangeAspect="1" noChangeArrowheads="1"/>
            </p:cNvSpPr>
            <p:nvPr userDrawn="1"/>
          </p:nvSpPr>
          <p:spPr bwMode="auto">
            <a:xfrm>
              <a:off x="657427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6" name="Oval 525"/>
            <p:cNvSpPr>
              <a:spLocks noChangeAspect="1" noChangeArrowheads="1"/>
            </p:cNvSpPr>
            <p:nvPr userDrawn="1"/>
          </p:nvSpPr>
          <p:spPr bwMode="auto">
            <a:xfrm>
              <a:off x="6687355"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7" name="Oval 526"/>
            <p:cNvSpPr>
              <a:spLocks noChangeAspect="1" noChangeArrowheads="1"/>
            </p:cNvSpPr>
            <p:nvPr userDrawn="1"/>
          </p:nvSpPr>
          <p:spPr bwMode="auto">
            <a:xfrm>
              <a:off x="6798931"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8" name="Oval 527"/>
            <p:cNvSpPr>
              <a:spLocks noChangeAspect="1" noChangeArrowheads="1"/>
            </p:cNvSpPr>
            <p:nvPr userDrawn="1"/>
          </p:nvSpPr>
          <p:spPr bwMode="auto">
            <a:xfrm>
              <a:off x="6912014"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9" name="Oval 528"/>
            <p:cNvSpPr>
              <a:spLocks noChangeAspect="1" noChangeArrowheads="1"/>
            </p:cNvSpPr>
            <p:nvPr userDrawn="1"/>
          </p:nvSpPr>
          <p:spPr bwMode="auto">
            <a:xfrm>
              <a:off x="702359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0" name="Oval 529"/>
            <p:cNvSpPr>
              <a:spLocks noChangeAspect="1" noChangeArrowheads="1"/>
            </p:cNvSpPr>
            <p:nvPr userDrawn="1"/>
          </p:nvSpPr>
          <p:spPr bwMode="auto">
            <a:xfrm>
              <a:off x="7136674"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1" name="Oval 530"/>
            <p:cNvSpPr>
              <a:spLocks noChangeAspect="1" noChangeArrowheads="1"/>
            </p:cNvSpPr>
            <p:nvPr userDrawn="1"/>
          </p:nvSpPr>
          <p:spPr bwMode="auto">
            <a:xfrm>
              <a:off x="724825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2" name="Oval 531"/>
            <p:cNvSpPr>
              <a:spLocks noChangeAspect="1" noChangeArrowheads="1"/>
            </p:cNvSpPr>
            <p:nvPr userDrawn="1"/>
          </p:nvSpPr>
          <p:spPr bwMode="auto">
            <a:xfrm>
              <a:off x="7361334"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3" name="Oval 532"/>
            <p:cNvSpPr>
              <a:spLocks noChangeAspect="1" noChangeArrowheads="1"/>
            </p:cNvSpPr>
            <p:nvPr userDrawn="1"/>
          </p:nvSpPr>
          <p:spPr bwMode="auto">
            <a:xfrm>
              <a:off x="747291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4" name="Oval 533"/>
            <p:cNvSpPr>
              <a:spLocks noChangeAspect="1" noChangeArrowheads="1"/>
            </p:cNvSpPr>
            <p:nvPr userDrawn="1"/>
          </p:nvSpPr>
          <p:spPr bwMode="auto">
            <a:xfrm>
              <a:off x="7585994"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5" name="Oval 534"/>
            <p:cNvSpPr>
              <a:spLocks noChangeAspect="1" noChangeArrowheads="1"/>
            </p:cNvSpPr>
            <p:nvPr userDrawn="1"/>
          </p:nvSpPr>
          <p:spPr bwMode="auto">
            <a:xfrm>
              <a:off x="769757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6" name="Oval 535"/>
            <p:cNvSpPr>
              <a:spLocks noChangeAspect="1" noChangeArrowheads="1"/>
            </p:cNvSpPr>
            <p:nvPr userDrawn="1"/>
          </p:nvSpPr>
          <p:spPr bwMode="auto">
            <a:xfrm>
              <a:off x="8035314"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7" name="Oval 536"/>
            <p:cNvSpPr>
              <a:spLocks noChangeAspect="1" noChangeArrowheads="1"/>
            </p:cNvSpPr>
            <p:nvPr userDrawn="1"/>
          </p:nvSpPr>
          <p:spPr bwMode="auto">
            <a:xfrm>
              <a:off x="1405586"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8" name="Oval 537"/>
            <p:cNvSpPr>
              <a:spLocks noChangeAspect="1" noChangeArrowheads="1"/>
            </p:cNvSpPr>
            <p:nvPr userDrawn="1"/>
          </p:nvSpPr>
          <p:spPr bwMode="auto">
            <a:xfrm>
              <a:off x="1518671"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9" name="Oval 538"/>
            <p:cNvSpPr>
              <a:spLocks noChangeAspect="1" noChangeArrowheads="1"/>
            </p:cNvSpPr>
            <p:nvPr userDrawn="1"/>
          </p:nvSpPr>
          <p:spPr bwMode="auto">
            <a:xfrm>
              <a:off x="1630247"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0" name="Oval 539"/>
            <p:cNvSpPr>
              <a:spLocks noChangeAspect="1" noChangeArrowheads="1"/>
            </p:cNvSpPr>
            <p:nvPr userDrawn="1"/>
          </p:nvSpPr>
          <p:spPr bwMode="auto">
            <a:xfrm>
              <a:off x="174333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1" name="Oval 540"/>
            <p:cNvSpPr>
              <a:spLocks noChangeAspect="1" noChangeArrowheads="1"/>
            </p:cNvSpPr>
            <p:nvPr userDrawn="1"/>
          </p:nvSpPr>
          <p:spPr bwMode="auto">
            <a:xfrm>
              <a:off x="1854906"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2" name="Oval 541"/>
            <p:cNvSpPr>
              <a:spLocks noChangeAspect="1" noChangeArrowheads="1"/>
            </p:cNvSpPr>
            <p:nvPr userDrawn="1"/>
          </p:nvSpPr>
          <p:spPr bwMode="auto">
            <a:xfrm>
              <a:off x="196799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3" name="Oval 542"/>
            <p:cNvSpPr>
              <a:spLocks noChangeAspect="1" noChangeArrowheads="1"/>
            </p:cNvSpPr>
            <p:nvPr userDrawn="1"/>
          </p:nvSpPr>
          <p:spPr bwMode="auto">
            <a:xfrm>
              <a:off x="2079566"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4" name="Oval 543"/>
            <p:cNvSpPr>
              <a:spLocks noChangeAspect="1" noChangeArrowheads="1"/>
            </p:cNvSpPr>
            <p:nvPr userDrawn="1"/>
          </p:nvSpPr>
          <p:spPr bwMode="auto">
            <a:xfrm>
              <a:off x="219265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5" name="Oval 544"/>
            <p:cNvSpPr>
              <a:spLocks noChangeAspect="1" noChangeArrowheads="1"/>
            </p:cNvSpPr>
            <p:nvPr userDrawn="1"/>
          </p:nvSpPr>
          <p:spPr bwMode="auto">
            <a:xfrm>
              <a:off x="2304226"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6" name="Oval 545"/>
            <p:cNvSpPr>
              <a:spLocks noChangeAspect="1" noChangeArrowheads="1"/>
            </p:cNvSpPr>
            <p:nvPr userDrawn="1"/>
          </p:nvSpPr>
          <p:spPr bwMode="auto">
            <a:xfrm>
              <a:off x="241731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7" name="Oval 546"/>
            <p:cNvSpPr>
              <a:spLocks noChangeAspect="1" noChangeArrowheads="1"/>
            </p:cNvSpPr>
            <p:nvPr userDrawn="1"/>
          </p:nvSpPr>
          <p:spPr bwMode="auto">
            <a:xfrm>
              <a:off x="2528886"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8" name="Oval 547"/>
            <p:cNvSpPr>
              <a:spLocks noChangeAspect="1" noChangeArrowheads="1"/>
            </p:cNvSpPr>
            <p:nvPr userDrawn="1"/>
          </p:nvSpPr>
          <p:spPr bwMode="auto">
            <a:xfrm>
              <a:off x="2641969"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9" name="Oval 548"/>
            <p:cNvSpPr>
              <a:spLocks noChangeAspect="1" noChangeArrowheads="1"/>
            </p:cNvSpPr>
            <p:nvPr userDrawn="1"/>
          </p:nvSpPr>
          <p:spPr bwMode="auto">
            <a:xfrm>
              <a:off x="2753545"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0" name="Oval 549"/>
            <p:cNvSpPr>
              <a:spLocks noChangeAspect="1" noChangeArrowheads="1"/>
            </p:cNvSpPr>
            <p:nvPr userDrawn="1"/>
          </p:nvSpPr>
          <p:spPr bwMode="auto">
            <a:xfrm>
              <a:off x="286663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1" name="Oval 550"/>
            <p:cNvSpPr>
              <a:spLocks noChangeAspect="1" noChangeArrowheads="1"/>
            </p:cNvSpPr>
            <p:nvPr userDrawn="1"/>
          </p:nvSpPr>
          <p:spPr bwMode="auto">
            <a:xfrm>
              <a:off x="2978206"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2" name="Oval 551"/>
            <p:cNvSpPr>
              <a:spLocks noChangeAspect="1" noChangeArrowheads="1"/>
            </p:cNvSpPr>
            <p:nvPr userDrawn="1"/>
          </p:nvSpPr>
          <p:spPr bwMode="auto">
            <a:xfrm>
              <a:off x="4214589"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3" name="Oval 552"/>
            <p:cNvSpPr>
              <a:spLocks noChangeAspect="1" noChangeArrowheads="1"/>
            </p:cNvSpPr>
            <p:nvPr userDrawn="1"/>
          </p:nvSpPr>
          <p:spPr bwMode="auto">
            <a:xfrm>
              <a:off x="4327672" y="2489154"/>
              <a:ext cx="85944" cy="85944"/>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554" name="Oval 553"/>
            <p:cNvSpPr>
              <a:spLocks noChangeAspect="1" noChangeArrowheads="1"/>
            </p:cNvSpPr>
            <p:nvPr userDrawn="1"/>
          </p:nvSpPr>
          <p:spPr bwMode="auto">
            <a:xfrm>
              <a:off x="4439248"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5" name="Oval 554"/>
            <p:cNvSpPr>
              <a:spLocks noChangeAspect="1" noChangeArrowheads="1"/>
            </p:cNvSpPr>
            <p:nvPr userDrawn="1"/>
          </p:nvSpPr>
          <p:spPr bwMode="auto">
            <a:xfrm>
              <a:off x="4552332"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6" name="Oval 555"/>
            <p:cNvSpPr>
              <a:spLocks noChangeAspect="1" noChangeArrowheads="1"/>
            </p:cNvSpPr>
            <p:nvPr userDrawn="1"/>
          </p:nvSpPr>
          <p:spPr bwMode="auto">
            <a:xfrm>
              <a:off x="4663908"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7" name="Oval 556"/>
            <p:cNvSpPr>
              <a:spLocks noChangeAspect="1" noChangeArrowheads="1"/>
            </p:cNvSpPr>
            <p:nvPr userDrawn="1"/>
          </p:nvSpPr>
          <p:spPr bwMode="auto">
            <a:xfrm>
              <a:off x="4776992"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8" name="Oval 557"/>
            <p:cNvSpPr>
              <a:spLocks noChangeAspect="1" noChangeArrowheads="1"/>
            </p:cNvSpPr>
            <p:nvPr userDrawn="1"/>
          </p:nvSpPr>
          <p:spPr bwMode="auto">
            <a:xfrm>
              <a:off x="4888568"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9" name="Oval 558"/>
            <p:cNvSpPr>
              <a:spLocks noChangeAspect="1" noChangeArrowheads="1"/>
            </p:cNvSpPr>
            <p:nvPr userDrawn="1"/>
          </p:nvSpPr>
          <p:spPr bwMode="auto">
            <a:xfrm>
              <a:off x="5001652"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0" name="Oval 559"/>
            <p:cNvSpPr>
              <a:spLocks noChangeAspect="1" noChangeArrowheads="1"/>
            </p:cNvSpPr>
            <p:nvPr userDrawn="1"/>
          </p:nvSpPr>
          <p:spPr bwMode="auto">
            <a:xfrm>
              <a:off x="5113228"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1" name="Oval 560"/>
            <p:cNvSpPr>
              <a:spLocks noChangeAspect="1" noChangeArrowheads="1"/>
            </p:cNvSpPr>
            <p:nvPr userDrawn="1"/>
          </p:nvSpPr>
          <p:spPr bwMode="auto">
            <a:xfrm>
              <a:off x="5226311"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2" name="Oval 561"/>
            <p:cNvSpPr>
              <a:spLocks noChangeAspect="1" noChangeArrowheads="1"/>
            </p:cNvSpPr>
            <p:nvPr userDrawn="1"/>
          </p:nvSpPr>
          <p:spPr bwMode="auto">
            <a:xfrm>
              <a:off x="5337887"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3" name="Oval 562"/>
            <p:cNvSpPr>
              <a:spLocks noChangeAspect="1" noChangeArrowheads="1"/>
            </p:cNvSpPr>
            <p:nvPr userDrawn="1"/>
          </p:nvSpPr>
          <p:spPr bwMode="auto">
            <a:xfrm>
              <a:off x="5450972"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4" name="Oval 563"/>
            <p:cNvSpPr>
              <a:spLocks noChangeAspect="1" noChangeArrowheads="1"/>
            </p:cNvSpPr>
            <p:nvPr userDrawn="1"/>
          </p:nvSpPr>
          <p:spPr bwMode="auto">
            <a:xfrm>
              <a:off x="5562548"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5" name="Oval 564"/>
            <p:cNvSpPr>
              <a:spLocks noChangeAspect="1" noChangeArrowheads="1"/>
            </p:cNvSpPr>
            <p:nvPr userDrawn="1"/>
          </p:nvSpPr>
          <p:spPr bwMode="auto">
            <a:xfrm>
              <a:off x="5675631"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6" name="Oval 565"/>
            <p:cNvSpPr>
              <a:spLocks noChangeAspect="1" noChangeArrowheads="1"/>
            </p:cNvSpPr>
            <p:nvPr userDrawn="1"/>
          </p:nvSpPr>
          <p:spPr bwMode="auto">
            <a:xfrm>
              <a:off x="5787207"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7" name="Oval 566"/>
            <p:cNvSpPr>
              <a:spLocks noChangeAspect="1" noChangeArrowheads="1"/>
            </p:cNvSpPr>
            <p:nvPr userDrawn="1"/>
          </p:nvSpPr>
          <p:spPr bwMode="auto">
            <a:xfrm>
              <a:off x="5900291"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8" name="Oval 567"/>
            <p:cNvSpPr>
              <a:spLocks noChangeAspect="1" noChangeArrowheads="1"/>
            </p:cNvSpPr>
            <p:nvPr userDrawn="1"/>
          </p:nvSpPr>
          <p:spPr bwMode="auto">
            <a:xfrm>
              <a:off x="6013375"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9" name="Oval 568"/>
            <p:cNvSpPr>
              <a:spLocks noChangeAspect="1" noChangeArrowheads="1"/>
            </p:cNvSpPr>
            <p:nvPr userDrawn="1"/>
          </p:nvSpPr>
          <p:spPr bwMode="auto">
            <a:xfrm>
              <a:off x="6124951"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0" name="Oval 569"/>
            <p:cNvSpPr>
              <a:spLocks noChangeAspect="1" noChangeArrowheads="1"/>
            </p:cNvSpPr>
            <p:nvPr userDrawn="1"/>
          </p:nvSpPr>
          <p:spPr bwMode="auto">
            <a:xfrm>
              <a:off x="6238035"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1" name="Oval 570"/>
            <p:cNvSpPr>
              <a:spLocks noChangeAspect="1" noChangeArrowheads="1"/>
            </p:cNvSpPr>
            <p:nvPr userDrawn="1"/>
          </p:nvSpPr>
          <p:spPr bwMode="auto">
            <a:xfrm>
              <a:off x="6349611"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2" name="Oval 571"/>
            <p:cNvSpPr>
              <a:spLocks noChangeAspect="1" noChangeArrowheads="1"/>
            </p:cNvSpPr>
            <p:nvPr userDrawn="1"/>
          </p:nvSpPr>
          <p:spPr bwMode="auto">
            <a:xfrm>
              <a:off x="6462694"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3" name="Oval 572"/>
            <p:cNvSpPr>
              <a:spLocks noChangeAspect="1" noChangeArrowheads="1"/>
            </p:cNvSpPr>
            <p:nvPr userDrawn="1"/>
          </p:nvSpPr>
          <p:spPr bwMode="auto">
            <a:xfrm>
              <a:off x="657427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4" name="Oval 573"/>
            <p:cNvSpPr>
              <a:spLocks noChangeAspect="1" noChangeArrowheads="1"/>
            </p:cNvSpPr>
            <p:nvPr userDrawn="1"/>
          </p:nvSpPr>
          <p:spPr bwMode="auto">
            <a:xfrm>
              <a:off x="6687355"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5" name="Oval 574"/>
            <p:cNvSpPr>
              <a:spLocks noChangeAspect="1" noChangeArrowheads="1"/>
            </p:cNvSpPr>
            <p:nvPr userDrawn="1"/>
          </p:nvSpPr>
          <p:spPr bwMode="auto">
            <a:xfrm>
              <a:off x="6798931"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6" name="Oval 575"/>
            <p:cNvSpPr>
              <a:spLocks noChangeAspect="1" noChangeArrowheads="1"/>
            </p:cNvSpPr>
            <p:nvPr userDrawn="1"/>
          </p:nvSpPr>
          <p:spPr bwMode="auto">
            <a:xfrm>
              <a:off x="6912014"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7" name="Oval 576"/>
            <p:cNvSpPr>
              <a:spLocks noChangeAspect="1" noChangeArrowheads="1"/>
            </p:cNvSpPr>
            <p:nvPr userDrawn="1"/>
          </p:nvSpPr>
          <p:spPr bwMode="auto">
            <a:xfrm>
              <a:off x="702359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8" name="Oval 577"/>
            <p:cNvSpPr>
              <a:spLocks noChangeAspect="1" noChangeArrowheads="1"/>
            </p:cNvSpPr>
            <p:nvPr userDrawn="1"/>
          </p:nvSpPr>
          <p:spPr bwMode="auto">
            <a:xfrm>
              <a:off x="7136674"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9" name="Oval 578"/>
            <p:cNvSpPr>
              <a:spLocks noChangeAspect="1" noChangeArrowheads="1"/>
            </p:cNvSpPr>
            <p:nvPr userDrawn="1"/>
          </p:nvSpPr>
          <p:spPr bwMode="auto">
            <a:xfrm>
              <a:off x="724825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0" name="Oval 579"/>
            <p:cNvSpPr>
              <a:spLocks noChangeAspect="1" noChangeArrowheads="1"/>
            </p:cNvSpPr>
            <p:nvPr userDrawn="1"/>
          </p:nvSpPr>
          <p:spPr bwMode="auto">
            <a:xfrm>
              <a:off x="7361334"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1" name="Oval 580"/>
            <p:cNvSpPr>
              <a:spLocks noChangeAspect="1" noChangeArrowheads="1"/>
            </p:cNvSpPr>
            <p:nvPr userDrawn="1"/>
          </p:nvSpPr>
          <p:spPr bwMode="auto">
            <a:xfrm>
              <a:off x="747291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2" name="Oval 581"/>
            <p:cNvSpPr>
              <a:spLocks noChangeAspect="1" noChangeArrowheads="1"/>
            </p:cNvSpPr>
            <p:nvPr userDrawn="1"/>
          </p:nvSpPr>
          <p:spPr bwMode="auto">
            <a:xfrm>
              <a:off x="7585994"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3" name="Oval 582"/>
            <p:cNvSpPr>
              <a:spLocks noChangeAspect="1" noChangeArrowheads="1"/>
            </p:cNvSpPr>
            <p:nvPr userDrawn="1"/>
          </p:nvSpPr>
          <p:spPr bwMode="auto">
            <a:xfrm>
              <a:off x="769757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4" name="Oval 583"/>
            <p:cNvSpPr>
              <a:spLocks noChangeAspect="1" noChangeArrowheads="1"/>
            </p:cNvSpPr>
            <p:nvPr userDrawn="1"/>
          </p:nvSpPr>
          <p:spPr bwMode="auto">
            <a:xfrm>
              <a:off x="8035314"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5" name="Oval 584"/>
            <p:cNvSpPr>
              <a:spLocks noChangeAspect="1" noChangeArrowheads="1"/>
            </p:cNvSpPr>
            <p:nvPr userDrawn="1"/>
          </p:nvSpPr>
          <p:spPr bwMode="auto">
            <a:xfrm>
              <a:off x="1405586"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6" name="Oval 585"/>
            <p:cNvSpPr>
              <a:spLocks noChangeAspect="1" noChangeArrowheads="1"/>
            </p:cNvSpPr>
            <p:nvPr userDrawn="1"/>
          </p:nvSpPr>
          <p:spPr bwMode="auto">
            <a:xfrm>
              <a:off x="1518671"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7" name="Oval 586"/>
            <p:cNvSpPr>
              <a:spLocks noChangeAspect="1" noChangeArrowheads="1"/>
            </p:cNvSpPr>
            <p:nvPr userDrawn="1"/>
          </p:nvSpPr>
          <p:spPr bwMode="auto">
            <a:xfrm>
              <a:off x="1630247"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8" name="Oval 587"/>
            <p:cNvSpPr>
              <a:spLocks noChangeAspect="1" noChangeArrowheads="1"/>
            </p:cNvSpPr>
            <p:nvPr userDrawn="1"/>
          </p:nvSpPr>
          <p:spPr bwMode="auto">
            <a:xfrm>
              <a:off x="174333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9" name="Oval 588"/>
            <p:cNvSpPr>
              <a:spLocks noChangeAspect="1" noChangeArrowheads="1"/>
            </p:cNvSpPr>
            <p:nvPr userDrawn="1"/>
          </p:nvSpPr>
          <p:spPr bwMode="auto">
            <a:xfrm>
              <a:off x="1854906"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0" name="Oval 589"/>
            <p:cNvSpPr>
              <a:spLocks noChangeAspect="1" noChangeArrowheads="1"/>
            </p:cNvSpPr>
            <p:nvPr userDrawn="1"/>
          </p:nvSpPr>
          <p:spPr bwMode="auto">
            <a:xfrm>
              <a:off x="196799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1" name="Oval 590"/>
            <p:cNvSpPr>
              <a:spLocks noChangeAspect="1" noChangeArrowheads="1"/>
            </p:cNvSpPr>
            <p:nvPr userDrawn="1"/>
          </p:nvSpPr>
          <p:spPr bwMode="auto">
            <a:xfrm>
              <a:off x="2079566"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2" name="Oval 591"/>
            <p:cNvSpPr>
              <a:spLocks noChangeAspect="1" noChangeArrowheads="1"/>
            </p:cNvSpPr>
            <p:nvPr userDrawn="1"/>
          </p:nvSpPr>
          <p:spPr bwMode="auto">
            <a:xfrm>
              <a:off x="219265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3" name="Oval 592"/>
            <p:cNvSpPr>
              <a:spLocks noChangeAspect="1" noChangeArrowheads="1"/>
            </p:cNvSpPr>
            <p:nvPr userDrawn="1"/>
          </p:nvSpPr>
          <p:spPr bwMode="auto">
            <a:xfrm>
              <a:off x="2304226"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4" name="Oval 593"/>
            <p:cNvSpPr>
              <a:spLocks noChangeAspect="1" noChangeArrowheads="1"/>
            </p:cNvSpPr>
            <p:nvPr userDrawn="1"/>
          </p:nvSpPr>
          <p:spPr bwMode="auto">
            <a:xfrm>
              <a:off x="241731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5" name="Oval 594"/>
            <p:cNvSpPr>
              <a:spLocks noChangeAspect="1" noChangeArrowheads="1"/>
            </p:cNvSpPr>
            <p:nvPr userDrawn="1"/>
          </p:nvSpPr>
          <p:spPr bwMode="auto">
            <a:xfrm>
              <a:off x="2528886"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6" name="Oval 595"/>
            <p:cNvSpPr>
              <a:spLocks noChangeAspect="1" noChangeArrowheads="1"/>
            </p:cNvSpPr>
            <p:nvPr userDrawn="1"/>
          </p:nvSpPr>
          <p:spPr bwMode="auto">
            <a:xfrm>
              <a:off x="2641969"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7" name="Oval 596"/>
            <p:cNvSpPr>
              <a:spLocks noChangeAspect="1" noChangeArrowheads="1"/>
            </p:cNvSpPr>
            <p:nvPr userDrawn="1"/>
          </p:nvSpPr>
          <p:spPr bwMode="auto">
            <a:xfrm>
              <a:off x="2753545"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8" name="Oval 597"/>
            <p:cNvSpPr>
              <a:spLocks noChangeAspect="1" noChangeArrowheads="1"/>
            </p:cNvSpPr>
            <p:nvPr userDrawn="1"/>
          </p:nvSpPr>
          <p:spPr bwMode="auto">
            <a:xfrm>
              <a:off x="286663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9" name="Oval 598"/>
            <p:cNvSpPr>
              <a:spLocks noChangeAspect="1" noChangeArrowheads="1"/>
            </p:cNvSpPr>
            <p:nvPr userDrawn="1"/>
          </p:nvSpPr>
          <p:spPr bwMode="auto">
            <a:xfrm>
              <a:off x="2978206"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0" name="Oval 599"/>
            <p:cNvSpPr>
              <a:spLocks noChangeAspect="1" noChangeArrowheads="1"/>
            </p:cNvSpPr>
            <p:nvPr userDrawn="1"/>
          </p:nvSpPr>
          <p:spPr bwMode="auto">
            <a:xfrm>
              <a:off x="4327672"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1" name="Oval 600"/>
            <p:cNvSpPr>
              <a:spLocks noChangeAspect="1" noChangeArrowheads="1"/>
            </p:cNvSpPr>
            <p:nvPr userDrawn="1"/>
          </p:nvSpPr>
          <p:spPr bwMode="auto">
            <a:xfrm>
              <a:off x="4439248"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2" name="Oval 601"/>
            <p:cNvSpPr>
              <a:spLocks noChangeAspect="1" noChangeArrowheads="1"/>
            </p:cNvSpPr>
            <p:nvPr userDrawn="1"/>
          </p:nvSpPr>
          <p:spPr bwMode="auto">
            <a:xfrm>
              <a:off x="4552332"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3" name="Oval 602"/>
            <p:cNvSpPr>
              <a:spLocks noChangeAspect="1" noChangeArrowheads="1"/>
            </p:cNvSpPr>
            <p:nvPr userDrawn="1"/>
          </p:nvSpPr>
          <p:spPr bwMode="auto">
            <a:xfrm>
              <a:off x="4663908"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4" name="Oval 603"/>
            <p:cNvSpPr>
              <a:spLocks noChangeAspect="1" noChangeArrowheads="1"/>
            </p:cNvSpPr>
            <p:nvPr userDrawn="1"/>
          </p:nvSpPr>
          <p:spPr bwMode="auto">
            <a:xfrm>
              <a:off x="4776992" y="2593192"/>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605" name="Oval 604"/>
            <p:cNvSpPr>
              <a:spLocks noChangeAspect="1" noChangeArrowheads="1"/>
            </p:cNvSpPr>
            <p:nvPr userDrawn="1"/>
          </p:nvSpPr>
          <p:spPr bwMode="auto">
            <a:xfrm>
              <a:off x="4888568"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6" name="Oval 605"/>
            <p:cNvSpPr>
              <a:spLocks noChangeAspect="1" noChangeArrowheads="1"/>
            </p:cNvSpPr>
            <p:nvPr userDrawn="1"/>
          </p:nvSpPr>
          <p:spPr bwMode="auto">
            <a:xfrm>
              <a:off x="5001652"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7" name="Oval 606"/>
            <p:cNvSpPr>
              <a:spLocks noChangeAspect="1" noChangeArrowheads="1"/>
            </p:cNvSpPr>
            <p:nvPr userDrawn="1"/>
          </p:nvSpPr>
          <p:spPr bwMode="auto">
            <a:xfrm>
              <a:off x="5113228"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8" name="Oval 607"/>
            <p:cNvSpPr>
              <a:spLocks noChangeAspect="1" noChangeArrowheads="1"/>
            </p:cNvSpPr>
            <p:nvPr userDrawn="1"/>
          </p:nvSpPr>
          <p:spPr bwMode="auto">
            <a:xfrm>
              <a:off x="5226311"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9" name="Oval 608"/>
            <p:cNvSpPr>
              <a:spLocks noChangeAspect="1" noChangeArrowheads="1"/>
            </p:cNvSpPr>
            <p:nvPr userDrawn="1"/>
          </p:nvSpPr>
          <p:spPr bwMode="auto">
            <a:xfrm>
              <a:off x="5337887"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0" name="Oval 609"/>
            <p:cNvSpPr>
              <a:spLocks noChangeAspect="1" noChangeArrowheads="1"/>
            </p:cNvSpPr>
            <p:nvPr userDrawn="1"/>
          </p:nvSpPr>
          <p:spPr bwMode="auto">
            <a:xfrm>
              <a:off x="5450972"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1" name="Oval 610"/>
            <p:cNvSpPr>
              <a:spLocks noChangeAspect="1" noChangeArrowheads="1"/>
            </p:cNvSpPr>
            <p:nvPr userDrawn="1"/>
          </p:nvSpPr>
          <p:spPr bwMode="auto">
            <a:xfrm>
              <a:off x="5562548"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2" name="Oval 611"/>
            <p:cNvSpPr>
              <a:spLocks noChangeAspect="1" noChangeArrowheads="1"/>
            </p:cNvSpPr>
            <p:nvPr userDrawn="1"/>
          </p:nvSpPr>
          <p:spPr bwMode="auto">
            <a:xfrm>
              <a:off x="5675631"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3" name="Oval 612"/>
            <p:cNvSpPr>
              <a:spLocks noChangeAspect="1" noChangeArrowheads="1"/>
            </p:cNvSpPr>
            <p:nvPr userDrawn="1"/>
          </p:nvSpPr>
          <p:spPr bwMode="auto">
            <a:xfrm>
              <a:off x="5787207"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4" name="Oval 613"/>
            <p:cNvSpPr>
              <a:spLocks noChangeAspect="1" noChangeArrowheads="1"/>
            </p:cNvSpPr>
            <p:nvPr userDrawn="1"/>
          </p:nvSpPr>
          <p:spPr bwMode="auto">
            <a:xfrm>
              <a:off x="5900291"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5" name="Oval 614"/>
            <p:cNvSpPr>
              <a:spLocks noChangeAspect="1" noChangeArrowheads="1"/>
            </p:cNvSpPr>
            <p:nvPr userDrawn="1"/>
          </p:nvSpPr>
          <p:spPr bwMode="auto">
            <a:xfrm>
              <a:off x="6013375"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6" name="Oval 615"/>
            <p:cNvSpPr>
              <a:spLocks noChangeAspect="1" noChangeArrowheads="1"/>
            </p:cNvSpPr>
            <p:nvPr userDrawn="1"/>
          </p:nvSpPr>
          <p:spPr bwMode="auto">
            <a:xfrm>
              <a:off x="6124951"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7" name="Oval 616"/>
            <p:cNvSpPr>
              <a:spLocks noChangeAspect="1" noChangeArrowheads="1"/>
            </p:cNvSpPr>
            <p:nvPr userDrawn="1"/>
          </p:nvSpPr>
          <p:spPr bwMode="auto">
            <a:xfrm>
              <a:off x="6238035"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8" name="Oval 617"/>
            <p:cNvSpPr>
              <a:spLocks noChangeAspect="1" noChangeArrowheads="1"/>
            </p:cNvSpPr>
            <p:nvPr userDrawn="1"/>
          </p:nvSpPr>
          <p:spPr bwMode="auto">
            <a:xfrm>
              <a:off x="6349611"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9" name="Oval 618"/>
            <p:cNvSpPr>
              <a:spLocks noChangeAspect="1" noChangeArrowheads="1"/>
            </p:cNvSpPr>
            <p:nvPr userDrawn="1"/>
          </p:nvSpPr>
          <p:spPr bwMode="auto">
            <a:xfrm>
              <a:off x="6462694"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0" name="Oval 619"/>
            <p:cNvSpPr>
              <a:spLocks noChangeAspect="1" noChangeArrowheads="1"/>
            </p:cNvSpPr>
            <p:nvPr userDrawn="1"/>
          </p:nvSpPr>
          <p:spPr bwMode="auto">
            <a:xfrm>
              <a:off x="657427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1" name="Oval 620"/>
            <p:cNvSpPr>
              <a:spLocks noChangeAspect="1" noChangeArrowheads="1"/>
            </p:cNvSpPr>
            <p:nvPr userDrawn="1"/>
          </p:nvSpPr>
          <p:spPr bwMode="auto">
            <a:xfrm>
              <a:off x="6687355"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2" name="Oval 621"/>
            <p:cNvSpPr>
              <a:spLocks noChangeAspect="1" noChangeArrowheads="1"/>
            </p:cNvSpPr>
            <p:nvPr userDrawn="1"/>
          </p:nvSpPr>
          <p:spPr bwMode="auto">
            <a:xfrm>
              <a:off x="6798931"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3" name="Oval 622"/>
            <p:cNvSpPr>
              <a:spLocks noChangeAspect="1" noChangeArrowheads="1"/>
            </p:cNvSpPr>
            <p:nvPr userDrawn="1"/>
          </p:nvSpPr>
          <p:spPr bwMode="auto">
            <a:xfrm>
              <a:off x="6912014"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4" name="Oval 623"/>
            <p:cNvSpPr>
              <a:spLocks noChangeAspect="1" noChangeArrowheads="1"/>
            </p:cNvSpPr>
            <p:nvPr userDrawn="1"/>
          </p:nvSpPr>
          <p:spPr bwMode="auto">
            <a:xfrm>
              <a:off x="702359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5" name="Oval 624"/>
            <p:cNvSpPr>
              <a:spLocks noChangeAspect="1" noChangeArrowheads="1"/>
            </p:cNvSpPr>
            <p:nvPr userDrawn="1"/>
          </p:nvSpPr>
          <p:spPr bwMode="auto">
            <a:xfrm>
              <a:off x="7136674"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6" name="Oval 625"/>
            <p:cNvSpPr>
              <a:spLocks noChangeAspect="1" noChangeArrowheads="1"/>
            </p:cNvSpPr>
            <p:nvPr userDrawn="1"/>
          </p:nvSpPr>
          <p:spPr bwMode="auto">
            <a:xfrm>
              <a:off x="724825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7" name="Oval 626"/>
            <p:cNvSpPr>
              <a:spLocks noChangeAspect="1" noChangeArrowheads="1"/>
            </p:cNvSpPr>
            <p:nvPr userDrawn="1"/>
          </p:nvSpPr>
          <p:spPr bwMode="auto">
            <a:xfrm>
              <a:off x="7361334"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8" name="Oval 627"/>
            <p:cNvSpPr>
              <a:spLocks noChangeAspect="1" noChangeArrowheads="1"/>
            </p:cNvSpPr>
            <p:nvPr userDrawn="1"/>
          </p:nvSpPr>
          <p:spPr bwMode="auto">
            <a:xfrm>
              <a:off x="747291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9" name="Oval 628"/>
            <p:cNvSpPr>
              <a:spLocks noChangeAspect="1" noChangeArrowheads="1"/>
            </p:cNvSpPr>
            <p:nvPr userDrawn="1"/>
          </p:nvSpPr>
          <p:spPr bwMode="auto">
            <a:xfrm>
              <a:off x="7585994"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0" name="Oval 629"/>
            <p:cNvSpPr>
              <a:spLocks noChangeAspect="1" noChangeArrowheads="1"/>
            </p:cNvSpPr>
            <p:nvPr userDrawn="1"/>
          </p:nvSpPr>
          <p:spPr bwMode="auto">
            <a:xfrm>
              <a:off x="769757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1" name="Oval 630"/>
            <p:cNvSpPr>
              <a:spLocks noChangeAspect="1" noChangeArrowheads="1"/>
            </p:cNvSpPr>
            <p:nvPr userDrawn="1"/>
          </p:nvSpPr>
          <p:spPr bwMode="auto">
            <a:xfrm>
              <a:off x="7810653" y="2593192"/>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632" name="Oval 631"/>
            <p:cNvSpPr>
              <a:spLocks noChangeAspect="1" noChangeArrowheads="1"/>
            </p:cNvSpPr>
            <p:nvPr userDrawn="1"/>
          </p:nvSpPr>
          <p:spPr bwMode="auto">
            <a:xfrm>
              <a:off x="1405586"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3" name="Oval 632"/>
            <p:cNvSpPr>
              <a:spLocks noChangeAspect="1" noChangeArrowheads="1"/>
            </p:cNvSpPr>
            <p:nvPr userDrawn="1"/>
          </p:nvSpPr>
          <p:spPr bwMode="auto">
            <a:xfrm>
              <a:off x="1518671"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4" name="Oval 633"/>
            <p:cNvSpPr>
              <a:spLocks noChangeAspect="1" noChangeArrowheads="1"/>
            </p:cNvSpPr>
            <p:nvPr userDrawn="1"/>
          </p:nvSpPr>
          <p:spPr bwMode="auto">
            <a:xfrm>
              <a:off x="1630247"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5" name="Oval 634"/>
            <p:cNvSpPr>
              <a:spLocks noChangeAspect="1" noChangeArrowheads="1"/>
            </p:cNvSpPr>
            <p:nvPr userDrawn="1"/>
          </p:nvSpPr>
          <p:spPr bwMode="auto">
            <a:xfrm>
              <a:off x="174333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6" name="Oval 635"/>
            <p:cNvSpPr>
              <a:spLocks noChangeAspect="1" noChangeArrowheads="1"/>
            </p:cNvSpPr>
            <p:nvPr userDrawn="1"/>
          </p:nvSpPr>
          <p:spPr bwMode="auto">
            <a:xfrm>
              <a:off x="1854906"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7" name="Oval 636"/>
            <p:cNvSpPr>
              <a:spLocks noChangeAspect="1" noChangeArrowheads="1"/>
            </p:cNvSpPr>
            <p:nvPr userDrawn="1"/>
          </p:nvSpPr>
          <p:spPr bwMode="auto">
            <a:xfrm>
              <a:off x="1967990"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8" name="Oval 637"/>
            <p:cNvSpPr>
              <a:spLocks noChangeAspect="1" noChangeArrowheads="1"/>
            </p:cNvSpPr>
            <p:nvPr userDrawn="1"/>
          </p:nvSpPr>
          <p:spPr bwMode="auto">
            <a:xfrm>
              <a:off x="2079566"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9" name="Oval 638"/>
            <p:cNvSpPr>
              <a:spLocks noChangeAspect="1" noChangeArrowheads="1"/>
            </p:cNvSpPr>
            <p:nvPr userDrawn="1"/>
          </p:nvSpPr>
          <p:spPr bwMode="auto">
            <a:xfrm>
              <a:off x="219265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0" name="Oval 639"/>
            <p:cNvSpPr>
              <a:spLocks noChangeAspect="1" noChangeArrowheads="1"/>
            </p:cNvSpPr>
            <p:nvPr userDrawn="1"/>
          </p:nvSpPr>
          <p:spPr bwMode="auto">
            <a:xfrm>
              <a:off x="2304226"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1" name="Oval 640"/>
            <p:cNvSpPr>
              <a:spLocks noChangeAspect="1" noChangeArrowheads="1"/>
            </p:cNvSpPr>
            <p:nvPr userDrawn="1"/>
          </p:nvSpPr>
          <p:spPr bwMode="auto">
            <a:xfrm>
              <a:off x="2417310"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2" name="Oval 641"/>
            <p:cNvSpPr>
              <a:spLocks noChangeAspect="1" noChangeArrowheads="1"/>
            </p:cNvSpPr>
            <p:nvPr userDrawn="1"/>
          </p:nvSpPr>
          <p:spPr bwMode="auto">
            <a:xfrm>
              <a:off x="2528886"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3" name="Oval 642"/>
            <p:cNvSpPr>
              <a:spLocks noChangeAspect="1" noChangeArrowheads="1"/>
            </p:cNvSpPr>
            <p:nvPr userDrawn="1"/>
          </p:nvSpPr>
          <p:spPr bwMode="auto">
            <a:xfrm>
              <a:off x="2641969"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4" name="Oval 643"/>
            <p:cNvSpPr>
              <a:spLocks noChangeAspect="1" noChangeArrowheads="1"/>
            </p:cNvSpPr>
            <p:nvPr userDrawn="1"/>
          </p:nvSpPr>
          <p:spPr bwMode="auto">
            <a:xfrm>
              <a:off x="2753545"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5" name="Oval 644"/>
            <p:cNvSpPr>
              <a:spLocks noChangeAspect="1" noChangeArrowheads="1"/>
            </p:cNvSpPr>
            <p:nvPr userDrawn="1"/>
          </p:nvSpPr>
          <p:spPr bwMode="auto">
            <a:xfrm>
              <a:off x="4327672"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6" name="Oval 645"/>
            <p:cNvSpPr>
              <a:spLocks noChangeAspect="1" noChangeArrowheads="1"/>
            </p:cNvSpPr>
            <p:nvPr userDrawn="1"/>
          </p:nvSpPr>
          <p:spPr bwMode="auto">
            <a:xfrm>
              <a:off x="4439248"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7" name="Oval 646"/>
            <p:cNvSpPr>
              <a:spLocks noChangeAspect="1" noChangeArrowheads="1"/>
            </p:cNvSpPr>
            <p:nvPr userDrawn="1"/>
          </p:nvSpPr>
          <p:spPr bwMode="auto">
            <a:xfrm>
              <a:off x="4552332"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8" name="Oval 647"/>
            <p:cNvSpPr>
              <a:spLocks noChangeAspect="1" noChangeArrowheads="1"/>
            </p:cNvSpPr>
            <p:nvPr userDrawn="1"/>
          </p:nvSpPr>
          <p:spPr bwMode="auto">
            <a:xfrm>
              <a:off x="4663908"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9" name="Oval 648"/>
            <p:cNvSpPr>
              <a:spLocks noChangeAspect="1" noChangeArrowheads="1"/>
            </p:cNvSpPr>
            <p:nvPr userDrawn="1"/>
          </p:nvSpPr>
          <p:spPr bwMode="auto">
            <a:xfrm>
              <a:off x="4776992"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0" name="Oval 649"/>
            <p:cNvSpPr>
              <a:spLocks noChangeAspect="1" noChangeArrowheads="1"/>
            </p:cNvSpPr>
            <p:nvPr userDrawn="1"/>
          </p:nvSpPr>
          <p:spPr bwMode="auto">
            <a:xfrm>
              <a:off x="4888568"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1" name="Oval 650"/>
            <p:cNvSpPr>
              <a:spLocks noChangeAspect="1" noChangeArrowheads="1"/>
            </p:cNvSpPr>
            <p:nvPr userDrawn="1"/>
          </p:nvSpPr>
          <p:spPr bwMode="auto">
            <a:xfrm>
              <a:off x="5001652"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2" name="Oval 651"/>
            <p:cNvSpPr>
              <a:spLocks noChangeAspect="1" noChangeArrowheads="1"/>
            </p:cNvSpPr>
            <p:nvPr userDrawn="1"/>
          </p:nvSpPr>
          <p:spPr bwMode="auto">
            <a:xfrm>
              <a:off x="5226311"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3" name="Oval 652"/>
            <p:cNvSpPr>
              <a:spLocks noChangeAspect="1" noChangeArrowheads="1"/>
            </p:cNvSpPr>
            <p:nvPr userDrawn="1"/>
          </p:nvSpPr>
          <p:spPr bwMode="auto">
            <a:xfrm>
              <a:off x="5337887"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4" name="Oval 653"/>
            <p:cNvSpPr>
              <a:spLocks noChangeAspect="1" noChangeArrowheads="1"/>
            </p:cNvSpPr>
            <p:nvPr userDrawn="1"/>
          </p:nvSpPr>
          <p:spPr bwMode="auto">
            <a:xfrm>
              <a:off x="5450972"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5" name="Oval 654"/>
            <p:cNvSpPr>
              <a:spLocks noChangeAspect="1" noChangeArrowheads="1"/>
            </p:cNvSpPr>
            <p:nvPr userDrawn="1"/>
          </p:nvSpPr>
          <p:spPr bwMode="auto">
            <a:xfrm>
              <a:off x="5562548"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6" name="Oval 655"/>
            <p:cNvSpPr>
              <a:spLocks noChangeAspect="1" noChangeArrowheads="1"/>
            </p:cNvSpPr>
            <p:nvPr userDrawn="1"/>
          </p:nvSpPr>
          <p:spPr bwMode="auto">
            <a:xfrm>
              <a:off x="5675631"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7" name="Oval 656"/>
            <p:cNvSpPr>
              <a:spLocks noChangeAspect="1" noChangeArrowheads="1"/>
            </p:cNvSpPr>
            <p:nvPr userDrawn="1"/>
          </p:nvSpPr>
          <p:spPr bwMode="auto">
            <a:xfrm>
              <a:off x="5900291"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8" name="Oval 657"/>
            <p:cNvSpPr>
              <a:spLocks noChangeAspect="1" noChangeArrowheads="1"/>
            </p:cNvSpPr>
            <p:nvPr userDrawn="1"/>
          </p:nvSpPr>
          <p:spPr bwMode="auto">
            <a:xfrm>
              <a:off x="6013375"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9" name="Oval 658"/>
            <p:cNvSpPr>
              <a:spLocks noChangeAspect="1" noChangeArrowheads="1"/>
            </p:cNvSpPr>
            <p:nvPr userDrawn="1"/>
          </p:nvSpPr>
          <p:spPr bwMode="auto">
            <a:xfrm>
              <a:off x="6124951"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0" name="Oval 659"/>
            <p:cNvSpPr>
              <a:spLocks noChangeAspect="1" noChangeArrowheads="1"/>
            </p:cNvSpPr>
            <p:nvPr userDrawn="1"/>
          </p:nvSpPr>
          <p:spPr bwMode="auto">
            <a:xfrm>
              <a:off x="6238035"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1" name="Oval 660"/>
            <p:cNvSpPr>
              <a:spLocks noChangeAspect="1" noChangeArrowheads="1"/>
            </p:cNvSpPr>
            <p:nvPr userDrawn="1"/>
          </p:nvSpPr>
          <p:spPr bwMode="auto">
            <a:xfrm>
              <a:off x="6349611"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2" name="Oval 661"/>
            <p:cNvSpPr>
              <a:spLocks noChangeAspect="1" noChangeArrowheads="1"/>
            </p:cNvSpPr>
            <p:nvPr userDrawn="1"/>
          </p:nvSpPr>
          <p:spPr bwMode="auto">
            <a:xfrm>
              <a:off x="6462694"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3" name="Oval 662"/>
            <p:cNvSpPr>
              <a:spLocks noChangeAspect="1" noChangeArrowheads="1"/>
            </p:cNvSpPr>
            <p:nvPr userDrawn="1"/>
          </p:nvSpPr>
          <p:spPr bwMode="auto">
            <a:xfrm>
              <a:off x="657427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4" name="Oval 663"/>
            <p:cNvSpPr>
              <a:spLocks noChangeAspect="1" noChangeArrowheads="1"/>
            </p:cNvSpPr>
            <p:nvPr userDrawn="1"/>
          </p:nvSpPr>
          <p:spPr bwMode="auto">
            <a:xfrm>
              <a:off x="6687355"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5" name="Oval 664"/>
            <p:cNvSpPr>
              <a:spLocks noChangeAspect="1" noChangeArrowheads="1"/>
            </p:cNvSpPr>
            <p:nvPr userDrawn="1"/>
          </p:nvSpPr>
          <p:spPr bwMode="auto">
            <a:xfrm>
              <a:off x="6798931"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6" name="Oval 665"/>
            <p:cNvSpPr>
              <a:spLocks noChangeAspect="1" noChangeArrowheads="1"/>
            </p:cNvSpPr>
            <p:nvPr userDrawn="1"/>
          </p:nvSpPr>
          <p:spPr bwMode="auto">
            <a:xfrm>
              <a:off x="6912014"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7" name="Oval 666"/>
            <p:cNvSpPr>
              <a:spLocks noChangeAspect="1" noChangeArrowheads="1"/>
            </p:cNvSpPr>
            <p:nvPr userDrawn="1"/>
          </p:nvSpPr>
          <p:spPr bwMode="auto">
            <a:xfrm>
              <a:off x="702359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8" name="Oval 667"/>
            <p:cNvSpPr>
              <a:spLocks noChangeAspect="1" noChangeArrowheads="1"/>
            </p:cNvSpPr>
            <p:nvPr userDrawn="1"/>
          </p:nvSpPr>
          <p:spPr bwMode="auto">
            <a:xfrm>
              <a:off x="7136674"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9" name="Oval 668"/>
            <p:cNvSpPr>
              <a:spLocks noChangeAspect="1" noChangeArrowheads="1"/>
            </p:cNvSpPr>
            <p:nvPr userDrawn="1"/>
          </p:nvSpPr>
          <p:spPr bwMode="auto">
            <a:xfrm>
              <a:off x="7248250"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0" name="Oval 669"/>
            <p:cNvSpPr>
              <a:spLocks noChangeAspect="1" noChangeArrowheads="1"/>
            </p:cNvSpPr>
            <p:nvPr userDrawn="1"/>
          </p:nvSpPr>
          <p:spPr bwMode="auto">
            <a:xfrm>
              <a:off x="7361334"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1" name="Oval 670"/>
            <p:cNvSpPr>
              <a:spLocks noChangeAspect="1" noChangeArrowheads="1"/>
            </p:cNvSpPr>
            <p:nvPr userDrawn="1"/>
          </p:nvSpPr>
          <p:spPr bwMode="auto">
            <a:xfrm>
              <a:off x="747291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2" name="Oval 671"/>
            <p:cNvSpPr>
              <a:spLocks noChangeAspect="1" noChangeArrowheads="1"/>
            </p:cNvSpPr>
            <p:nvPr userDrawn="1"/>
          </p:nvSpPr>
          <p:spPr bwMode="auto">
            <a:xfrm>
              <a:off x="1405586"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3" name="Oval 672"/>
            <p:cNvSpPr>
              <a:spLocks noChangeAspect="1" noChangeArrowheads="1"/>
            </p:cNvSpPr>
            <p:nvPr userDrawn="1"/>
          </p:nvSpPr>
          <p:spPr bwMode="auto">
            <a:xfrm>
              <a:off x="1518671"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4" name="Oval 673"/>
            <p:cNvSpPr>
              <a:spLocks noChangeAspect="1" noChangeArrowheads="1"/>
            </p:cNvSpPr>
            <p:nvPr userDrawn="1"/>
          </p:nvSpPr>
          <p:spPr bwMode="auto">
            <a:xfrm>
              <a:off x="1630247"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5" name="Oval 674"/>
            <p:cNvSpPr>
              <a:spLocks noChangeAspect="1" noChangeArrowheads="1"/>
            </p:cNvSpPr>
            <p:nvPr userDrawn="1"/>
          </p:nvSpPr>
          <p:spPr bwMode="auto">
            <a:xfrm>
              <a:off x="1743330"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6" name="Oval 675"/>
            <p:cNvSpPr>
              <a:spLocks noChangeAspect="1" noChangeArrowheads="1"/>
            </p:cNvSpPr>
            <p:nvPr userDrawn="1"/>
          </p:nvSpPr>
          <p:spPr bwMode="auto">
            <a:xfrm>
              <a:off x="1854906"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7" name="Oval 676"/>
            <p:cNvSpPr>
              <a:spLocks noChangeAspect="1" noChangeArrowheads="1"/>
            </p:cNvSpPr>
            <p:nvPr userDrawn="1"/>
          </p:nvSpPr>
          <p:spPr bwMode="auto">
            <a:xfrm>
              <a:off x="1967990"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8" name="Oval 677"/>
            <p:cNvSpPr>
              <a:spLocks noChangeAspect="1" noChangeArrowheads="1"/>
            </p:cNvSpPr>
            <p:nvPr userDrawn="1"/>
          </p:nvSpPr>
          <p:spPr bwMode="auto">
            <a:xfrm>
              <a:off x="2079566"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9" name="Oval 678"/>
            <p:cNvSpPr>
              <a:spLocks noChangeAspect="1" noChangeArrowheads="1"/>
            </p:cNvSpPr>
            <p:nvPr userDrawn="1"/>
          </p:nvSpPr>
          <p:spPr bwMode="auto">
            <a:xfrm>
              <a:off x="2192650"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0" name="Oval 679"/>
            <p:cNvSpPr>
              <a:spLocks noChangeAspect="1" noChangeArrowheads="1"/>
            </p:cNvSpPr>
            <p:nvPr userDrawn="1"/>
          </p:nvSpPr>
          <p:spPr bwMode="auto">
            <a:xfrm>
              <a:off x="2304226"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1" name="Oval 680"/>
            <p:cNvSpPr>
              <a:spLocks noChangeAspect="1" noChangeArrowheads="1"/>
            </p:cNvSpPr>
            <p:nvPr userDrawn="1"/>
          </p:nvSpPr>
          <p:spPr bwMode="auto">
            <a:xfrm>
              <a:off x="2417310"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2" name="Oval 681"/>
            <p:cNvSpPr>
              <a:spLocks noChangeAspect="1" noChangeArrowheads="1"/>
            </p:cNvSpPr>
            <p:nvPr userDrawn="1"/>
          </p:nvSpPr>
          <p:spPr bwMode="auto">
            <a:xfrm>
              <a:off x="2528886"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3" name="Oval 682"/>
            <p:cNvSpPr>
              <a:spLocks noChangeAspect="1" noChangeArrowheads="1"/>
            </p:cNvSpPr>
            <p:nvPr userDrawn="1"/>
          </p:nvSpPr>
          <p:spPr bwMode="auto">
            <a:xfrm>
              <a:off x="2641969"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4" name="Oval 683"/>
            <p:cNvSpPr>
              <a:spLocks noChangeAspect="1" noChangeArrowheads="1"/>
            </p:cNvSpPr>
            <p:nvPr userDrawn="1"/>
          </p:nvSpPr>
          <p:spPr bwMode="auto">
            <a:xfrm>
              <a:off x="4103013"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5" name="Oval 684"/>
            <p:cNvSpPr>
              <a:spLocks noChangeAspect="1" noChangeArrowheads="1"/>
            </p:cNvSpPr>
            <p:nvPr userDrawn="1"/>
          </p:nvSpPr>
          <p:spPr bwMode="auto">
            <a:xfrm>
              <a:off x="4214589"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6" name="Oval 685"/>
            <p:cNvSpPr>
              <a:spLocks noChangeAspect="1" noChangeArrowheads="1"/>
            </p:cNvSpPr>
            <p:nvPr userDrawn="1"/>
          </p:nvSpPr>
          <p:spPr bwMode="auto">
            <a:xfrm>
              <a:off x="4327672"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7" name="Oval 686"/>
            <p:cNvSpPr>
              <a:spLocks noChangeAspect="1" noChangeArrowheads="1"/>
            </p:cNvSpPr>
            <p:nvPr userDrawn="1"/>
          </p:nvSpPr>
          <p:spPr bwMode="auto">
            <a:xfrm>
              <a:off x="4663908"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8" name="Oval 687"/>
            <p:cNvSpPr>
              <a:spLocks noChangeAspect="1" noChangeArrowheads="1"/>
            </p:cNvSpPr>
            <p:nvPr userDrawn="1"/>
          </p:nvSpPr>
          <p:spPr bwMode="auto">
            <a:xfrm>
              <a:off x="4776992"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9" name="Oval 688"/>
            <p:cNvSpPr>
              <a:spLocks noChangeAspect="1" noChangeArrowheads="1"/>
            </p:cNvSpPr>
            <p:nvPr userDrawn="1"/>
          </p:nvSpPr>
          <p:spPr bwMode="auto">
            <a:xfrm>
              <a:off x="4888568"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0" name="Oval 689"/>
            <p:cNvSpPr>
              <a:spLocks noChangeAspect="1" noChangeArrowheads="1"/>
            </p:cNvSpPr>
            <p:nvPr userDrawn="1"/>
          </p:nvSpPr>
          <p:spPr bwMode="auto">
            <a:xfrm>
              <a:off x="5001652"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1" name="Oval 690"/>
            <p:cNvSpPr>
              <a:spLocks noChangeAspect="1" noChangeArrowheads="1"/>
            </p:cNvSpPr>
            <p:nvPr userDrawn="1"/>
          </p:nvSpPr>
          <p:spPr bwMode="auto">
            <a:xfrm>
              <a:off x="5113228"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2" name="Oval 691"/>
            <p:cNvSpPr>
              <a:spLocks noChangeAspect="1" noChangeArrowheads="1"/>
            </p:cNvSpPr>
            <p:nvPr userDrawn="1"/>
          </p:nvSpPr>
          <p:spPr bwMode="auto">
            <a:xfrm>
              <a:off x="5226311"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3" name="Oval 692"/>
            <p:cNvSpPr>
              <a:spLocks noChangeAspect="1" noChangeArrowheads="1"/>
            </p:cNvSpPr>
            <p:nvPr userDrawn="1"/>
          </p:nvSpPr>
          <p:spPr bwMode="auto">
            <a:xfrm>
              <a:off x="5337887"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4" name="Oval 693"/>
            <p:cNvSpPr>
              <a:spLocks noChangeAspect="1" noChangeArrowheads="1"/>
            </p:cNvSpPr>
            <p:nvPr userDrawn="1"/>
          </p:nvSpPr>
          <p:spPr bwMode="auto">
            <a:xfrm>
              <a:off x="5450972"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5" name="Oval 694"/>
            <p:cNvSpPr>
              <a:spLocks noChangeAspect="1" noChangeArrowheads="1"/>
            </p:cNvSpPr>
            <p:nvPr userDrawn="1"/>
          </p:nvSpPr>
          <p:spPr bwMode="auto">
            <a:xfrm>
              <a:off x="5675631"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6" name="Oval 695"/>
            <p:cNvSpPr>
              <a:spLocks noChangeAspect="1" noChangeArrowheads="1"/>
            </p:cNvSpPr>
            <p:nvPr userDrawn="1"/>
          </p:nvSpPr>
          <p:spPr bwMode="auto">
            <a:xfrm>
              <a:off x="5787207"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7" name="Oval 696"/>
            <p:cNvSpPr>
              <a:spLocks noChangeAspect="1" noChangeArrowheads="1"/>
            </p:cNvSpPr>
            <p:nvPr userDrawn="1"/>
          </p:nvSpPr>
          <p:spPr bwMode="auto">
            <a:xfrm>
              <a:off x="5900291"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8" name="Oval 697"/>
            <p:cNvSpPr>
              <a:spLocks noChangeAspect="1" noChangeArrowheads="1"/>
            </p:cNvSpPr>
            <p:nvPr userDrawn="1"/>
          </p:nvSpPr>
          <p:spPr bwMode="auto">
            <a:xfrm>
              <a:off x="6013375"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9" name="Oval 698"/>
            <p:cNvSpPr>
              <a:spLocks noChangeAspect="1" noChangeArrowheads="1"/>
            </p:cNvSpPr>
            <p:nvPr userDrawn="1"/>
          </p:nvSpPr>
          <p:spPr bwMode="auto">
            <a:xfrm>
              <a:off x="6124951"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0" name="Oval 699"/>
            <p:cNvSpPr>
              <a:spLocks noChangeAspect="1" noChangeArrowheads="1"/>
            </p:cNvSpPr>
            <p:nvPr userDrawn="1"/>
          </p:nvSpPr>
          <p:spPr bwMode="auto">
            <a:xfrm>
              <a:off x="6238035"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1" name="Oval 700"/>
            <p:cNvSpPr>
              <a:spLocks noChangeAspect="1" noChangeArrowheads="1"/>
            </p:cNvSpPr>
            <p:nvPr userDrawn="1"/>
          </p:nvSpPr>
          <p:spPr bwMode="auto">
            <a:xfrm>
              <a:off x="6349611"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2" name="Oval 701"/>
            <p:cNvSpPr>
              <a:spLocks noChangeAspect="1" noChangeArrowheads="1"/>
            </p:cNvSpPr>
            <p:nvPr userDrawn="1"/>
          </p:nvSpPr>
          <p:spPr bwMode="auto">
            <a:xfrm>
              <a:off x="6462694"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3" name="Oval 702"/>
            <p:cNvSpPr>
              <a:spLocks noChangeAspect="1" noChangeArrowheads="1"/>
            </p:cNvSpPr>
            <p:nvPr userDrawn="1"/>
          </p:nvSpPr>
          <p:spPr bwMode="auto">
            <a:xfrm>
              <a:off x="6574270"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4" name="Oval 703"/>
            <p:cNvSpPr>
              <a:spLocks noChangeAspect="1" noChangeArrowheads="1"/>
            </p:cNvSpPr>
            <p:nvPr userDrawn="1"/>
          </p:nvSpPr>
          <p:spPr bwMode="auto">
            <a:xfrm>
              <a:off x="6687355"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5" name="Oval 704"/>
            <p:cNvSpPr>
              <a:spLocks noChangeAspect="1" noChangeArrowheads="1"/>
            </p:cNvSpPr>
            <p:nvPr userDrawn="1"/>
          </p:nvSpPr>
          <p:spPr bwMode="auto">
            <a:xfrm>
              <a:off x="6798931"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6" name="Oval 705"/>
            <p:cNvSpPr>
              <a:spLocks noChangeAspect="1" noChangeArrowheads="1"/>
            </p:cNvSpPr>
            <p:nvPr userDrawn="1"/>
          </p:nvSpPr>
          <p:spPr bwMode="auto">
            <a:xfrm>
              <a:off x="6912014"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7" name="Oval 706"/>
            <p:cNvSpPr>
              <a:spLocks noChangeAspect="1" noChangeArrowheads="1"/>
            </p:cNvSpPr>
            <p:nvPr userDrawn="1"/>
          </p:nvSpPr>
          <p:spPr bwMode="auto">
            <a:xfrm>
              <a:off x="7023590"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8" name="Oval 707"/>
            <p:cNvSpPr>
              <a:spLocks noChangeAspect="1" noChangeArrowheads="1"/>
            </p:cNvSpPr>
            <p:nvPr userDrawn="1"/>
          </p:nvSpPr>
          <p:spPr bwMode="auto">
            <a:xfrm>
              <a:off x="7136674"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9" name="Oval 708"/>
            <p:cNvSpPr>
              <a:spLocks noChangeAspect="1" noChangeArrowheads="1"/>
            </p:cNvSpPr>
            <p:nvPr userDrawn="1"/>
          </p:nvSpPr>
          <p:spPr bwMode="auto">
            <a:xfrm>
              <a:off x="7248250"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0" name="Oval 709"/>
            <p:cNvSpPr>
              <a:spLocks noChangeAspect="1" noChangeArrowheads="1"/>
            </p:cNvSpPr>
            <p:nvPr userDrawn="1"/>
          </p:nvSpPr>
          <p:spPr bwMode="auto">
            <a:xfrm>
              <a:off x="7361334"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1" name="Oval 710"/>
            <p:cNvSpPr>
              <a:spLocks noChangeAspect="1" noChangeArrowheads="1"/>
            </p:cNvSpPr>
            <p:nvPr userDrawn="1"/>
          </p:nvSpPr>
          <p:spPr bwMode="auto">
            <a:xfrm>
              <a:off x="7585994"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2" name="Oval 711"/>
            <p:cNvSpPr>
              <a:spLocks noChangeAspect="1" noChangeArrowheads="1"/>
            </p:cNvSpPr>
            <p:nvPr userDrawn="1"/>
          </p:nvSpPr>
          <p:spPr bwMode="auto">
            <a:xfrm>
              <a:off x="1405586"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3" name="Oval 712"/>
            <p:cNvSpPr>
              <a:spLocks noChangeAspect="1" noChangeArrowheads="1"/>
            </p:cNvSpPr>
            <p:nvPr userDrawn="1"/>
          </p:nvSpPr>
          <p:spPr bwMode="auto">
            <a:xfrm>
              <a:off x="1518671"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4" name="Oval 713"/>
            <p:cNvSpPr>
              <a:spLocks noChangeAspect="1" noChangeArrowheads="1"/>
            </p:cNvSpPr>
            <p:nvPr userDrawn="1"/>
          </p:nvSpPr>
          <p:spPr bwMode="auto">
            <a:xfrm>
              <a:off x="1630247"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5" name="Oval 714"/>
            <p:cNvSpPr>
              <a:spLocks noChangeAspect="1" noChangeArrowheads="1"/>
            </p:cNvSpPr>
            <p:nvPr userDrawn="1"/>
          </p:nvSpPr>
          <p:spPr bwMode="auto">
            <a:xfrm>
              <a:off x="1743330"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6" name="Oval 715"/>
            <p:cNvSpPr>
              <a:spLocks noChangeAspect="1" noChangeArrowheads="1"/>
            </p:cNvSpPr>
            <p:nvPr userDrawn="1"/>
          </p:nvSpPr>
          <p:spPr bwMode="auto">
            <a:xfrm>
              <a:off x="1854906"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7" name="Oval 716"/>
            <p:cNvSpPr>
              <a:spLocks noChangeAspect="1" noChangeArrowheads="1"/>
            </p:cNvSpPr>
            <p:nvPr userDrawn="1"/>
          </p:nvSpPr>
          <p:spPr bwMode="auto">
            <a:xfrm>
              <a:off x="1967990"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8" name="Oval 717"/>
            <p:cNvSpPr>
              <a:spLocks noChangeAspect="1" noChangeArrowheads="1"/>
            </p:cNvSpPr>
            <p:nvPr userDrawn="1"/>
          </p:nvSpPr>
          <p:spPr bwMode="auto">
            <a:xfrm>
              <a:off x="2079566"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9" name="Oval 718"/>
            <p:cNvSpPr>
              <a:spLocks noChangeAspect="1" noChangeArrowheads="1"/>
            </p:cNvSpPr>
            <p:nvPr userDrawn="1"/>
          </p:nvSpPr>
          <p:spPr bwMode="auto">
            <a:xfrm>
              <a:off x="2192650"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0" name="Oval 719"/>
            <p:cNvSpPr>
              <a:spLocks noChangeAspect="1" noChangeArrowheads="1"/>
            </p:cNvSpPr>
            <p:nvPr userDrawn="1"/>
          </p:nvSpPr>
          <p:spPr bwMode="auto">
            <a:xfrm>
              <a:off x="2304226"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1" name="Oval 720"/>
            <p:cNvSpPr>
              <a:spLocks noChangeAspect="1" noChangeArrowheads="1"/>
            </p:cNvSpPr>
            <p:nvPr userDrawn="1"/>
          </p:nvSpPr>
          <p:spPr bwMode="auto">
            <a:xfrm>
              <a:off x="2417310"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2" name="Oval 721"/>
            <p:cNvSpPr>
              <a:spLocks noChangeAspect="1" noChangeArrowheads="1"/>
            </p:cNvSpPr>
            <p:nvPr userDrawn="1"/>
          </p:nvSpPr>
          <p:spPr bwMode="auto">
            <a:xfrm>
              <a:off x="2528886"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3" name="Oval 722"/>
            <p:cNvSpPr>
              <a:spLocks noChangeAspect="1" noChangeArrowheads="1"/>
            </p:cNvSpPr>
            <p:nvPr userDrawn="1"/>
          </p:nvSpPr>
          <p:spPr bwMode="auto">
            <a:xfrm>
              <a:off x="4103013"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4" name="Oval 723"/>
            <p:cNvSpPr>
              <a:spLocks noChangeAspect="1" noChangeArrowheads="1"/>
            </p:cNvSpPr>
            <p:nvPr userDrawn="1"/>
          </p:nvSpPr>
          <p:spPr bwMode="auto">
            <a:xfrm>
              <a:off x="4214589"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5" name="Oval 724"/>
            <p:cNvSpPr>
              <a:spLocks noChangeAspect="1" noChangeArrowheads="1"/>
            </p:cNvSpPr>
            <p:nvPr userDrawn="1"/>
          </p:nvSpPr>
          <p:spPr bwMode="auto">
            <a:xfrm>
              <a:off x="4663908"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6" name="Oval 725"/>
            <p:cNvSpPr>
              <a:spLocks noChangeAspect="1" noChangeArrowheads="1"/>
            </p:cNvSpPr>
            <p:nvPr userDrawn="1"/>
          </p:nvSpPr>
          <p:spPr bwMode="auto">
            <a:xfrm>
              <a:off x="4888568"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7" name="Oval 726"/>
            <p:cNvSpPr>
              <a:spLocks noChangeAspect="1" noChangeArrowheads="1"/>
            </p:cNvSpPr>
            <p:nvPr userDrawn="1"/>
          </p:nvSpPr>
          <p:spPr bwMode="auto">
            <a:xfrm>
              <a:off x="5001652"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8" name="Oval 727"/>
            <p:cNvSpPr>
              <a:spLocks noChangeAspect="1" noChangeArrowheads="1"/>
            </p:cNvSpPr>
            <p:nvPr userDrawn="1"/>
          </p:nvSpPr>
          <p:spPr bwMode="auto">
            <a:xfrm>
              <a:off x="5113228" y="2903796"/>
              <a:ext cx="85943"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729" name="Oval 728"/>
            <p:cNvSpPr>
              <a:spLocks noChangeAspect="1" noChangeArrowheads="1"/>
            </p:cNvSpPr>
            <p:nvPr userDrawn="1"/>
          </p:nvSpPr>
          <p:spPr bwMode="auto">
            <a:xfrm>
              <a:off x="5226311"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0" name="Oval 729"/>
            <p:cNvSpPr>
              <a:spLocks noChangeAspect="1" noChangeArrowheads="1"/>
            </p:cNvSpPr>
            <p:nvPr userDrawn="1"/>
          </p:nvSpPr>
          <p:spPr bwMode="auto">
            <a:xfrm>
              <a:off x="5337887"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1" name="Oval 730"/>
            <p:cNvSpPr>
              <a:spLocks noChangeAspect="1" noChangeArrowheads="1"/>
            </p:cNvSpPr>
            <p:nvPr userDrawn="1"/>
          </p:nvSpPr>
          <p:spPr bwMode="auto">
            <a:xfrm>
              <a:off x="5450972"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2" name="Oval 731"/>
            <p:cNvSpPr>
              <a:spLocks noChangeAspect="1" noChangeArrowheads="1"/>
            </p:cNvSpPr>
            <p:nvPr userDrawn="1"/>
          </p:nvSpPr>
          <p:spPr bwMode="auto">
            <a:xfrm>
              <a:off x="5675631"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3" name="Oval 732"/>
            <p:cNvSpPr>
              <a:spLocks noChangeAspect="1" noChangeArrowheads="1"/>
            </p:cNvSpPr>
            <p:nvPr userDrawn="1"/>
          </p:nvSpPr>
          <p:spPr bwMode="auto">
            <a:xfrm>
              <a:off x="5787207"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4" name="Oval 733"/>
            <p:cNvSpPr>
              <a:spLocks noChangeAspect="1" noChangeArrowheads="1"/>
            </p:cNvSpPr>
            <p:nvPr userDrawn="1"/>
          </p:nvSpPr>
          <p:spPr bwMode="auto">
            <a:xfrm>
              <a:off x="5900291"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5" name="Oval 734"/>
            <p:cNvSpPr>
              <a:spLocks noChangeAspect="1" noChangeArrowheads="1"/>
            </p:cNvSpPr>
            <p:nvPr userDrawn="1"/>
          </p:nvSpPr>
          <p:spPr bwMode="auto">
            <a:xfrm>
              <a:off x="6013375"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6" name="Oval 735"/>
            <p:cNvSpPr>
              <a:spLocks noChangeAspect="1" noChangeArrowheads="1"/>
            </p:cNvSpPr>
            <p:nvPr userDrawn="1"/>
          </p:nvSpPr>
          <p:spPr bwMode="auto">
            <a:xfrm>
              <a:off x="6124951"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7" name="Oval 736"/>
            <p:cNvSpPr>
              <a:spLocks noChangeAspect="1" noChangeArrowheads="1"/>
            </p:cNvSpPr>
            <p:nvPr userDrawn="1"/>
          </p:nvSpPr>
          <p:spPr bwMode="auto">
            <a:xfrm>
              <a:off x="6238035"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8" name="Oval 737"/>
            <p:cNvSpPr>
              <a:spLocks noChangeAspect="1" noChangeArrowheads="1"/>
            </p:cNvSpPr>
            <p:nvPr userDrawn="1"/>
          </p:nvSpPr>
          <p:spPr bwMode="auto">
            <a:xfrm>
              <a:off x="6349611"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9" name="Oval 738"/>
            <p:cNvSpPr>
              <a:spLocks noChangeAspect="1" noChangeArrowheads="1"/>
            </p:cNvSpPr>
            <p:nvPr userDrawn="1"/>
          </p:nvSpPr>
          <p:spPr bwMode="auto">
            <a:xfrm>
              <a:off x="6462694"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0" name="Oval 739"/>
            <p:cNvSpPr>
              <a:spLocks noChangeAspect="1" noChangeArrowheads="1"/>
            </p:cNvSpPr>
            <p:nvPr userDrawn="1"/>
          </p:nvSpPr>
          <p:spPr bwMode="auto">
            <a:xfrm>
              <a:off x="6574270"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1" name="Oval 740"/>
            <p:cNvSpPr>
              <a:spLocks noChangeAspect="1" noChangeArrowheads="1"/>
            </p:cNvSpPr>
            <p:nvPr userDrawn="1"/>
          </p:nvSpPr>
          <p:spPr bwMode="auto">
            <a:xfrm>
              <a:off x="6687355"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2" name="Oval 741"/>
            <p:cNvSpPr>
              <a:spLocks noChangeAspect="1" noChangeArrowheads="1"/>
            </p:cNvSpPr>
            <p:nvPr userDrawn="1"/>
          </p:nvSpPr>
          <p:spPr bwMode="auto">
            <a:xfrm>
              <a:off x="6798931"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3" name="Oval 742"/>
            <p:cNvSpPr>
              <a:spLocks noChangeAspect="1" noChangeArrowheads="1"/>
            </p:cNvSpPr>
            <p:nvPr userDrawn="1"/>
          </p:nvSpPr>
          <p:spPr bwMode="auto">
            <a:xfrm>
              <a:off x="6912014"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4" name="Oval 743"/>
            <p:cNvSpPr>
              <a:spLocks noChangeAspect="1" noChangeArrowheads="1"/>
            </p:cNvSpPr>
            <p:nvPr userDrawn="1"/>
          </p:nvSpPr>
          <p:spPr bwMode="auto">
            <a:xfrm>
              <a:off x="7023590"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5" name="Oval 744"/>
            <p:cNvSpPr>
              <a:spLocks noChangeAspect="1" noChangeArrowheads="1"/>
            </p:cNvSpPr>
            <p:nvPr userDrawn="1"/>
          </p:nvSpPr>
          <p:spPr bwMode="auto">
            <a:xfrm>
              <a:off x="7136674"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6" name="Oval 745"/>
            <p:cNvSpPr>
              <a:spLocks noChangeAspect="1" noChangeArrowheads="1"/>
            </p:cNvSpPr>
            <p:nvPr userDrawn="1"/>
          </p:nvSpPr>
          <p:spPr bwMode="auto">
            <a:xfrm>
              <a:off x="7361334"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7" name="Oval 746"/>
            <p:cNvSpPr>
              <a:spLocks noChangeAspect="1" noChangeArrowheads="1"/>
            </p:cNvSpPr>
            <p:nvPr userDrawn="1"/>
          </p:nvSpPr>
          <p:spPr bwMode="auto">
            <a:xfrm>
              <a:off x="7585994" y="2903796"/>
              <a:ext cx="85943"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748" name="Oval 747"/>
            <p:cNvSpPr>
              <a:spLocks noChangeAspect="1" noChangeArrowheads="1"/>
            </p:cNvSpPr>
            <p:nvPr userDrawn="1"/>
          </p:nvSpPr>
          <p:spPr bwMode="auto">
            <a:xfrm>
              <a:off x="1518671"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9" name="Oval 748"/>
            <p:cNvSpPr>
              <a:spLocks noChangeAspect="1" noChangeArrowheads="1"/>
            </p:cNvSpPr>
            <p:nvPr userDrawn="1"/>
          </p:nvSpPr>
          <p:spPr bwMode="auto">
            <a:xfrm>
              <a:off x="1630247"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0" name="Oval 749"/>
            <p:cNvSpPr>
              <a:spLocks noChangeAspect="1" noChangeArrowheads="1"/>
            </p:cNvSpPr>
            <p:nvPr userDrawn="1"/>
          </p:nvSpPr>
          <p:spPr bwMode="auto">
            <a:xfrm>
              <a:off x="174333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1" name="Oval 750"/>
            <p:cNvSpPr>
              <a:spLocks noChangeAspect="1" noChangeArrowheads="1"/>
            </p:cNvSpPr>
            <p:nvPr userDrawn="1"/>
          </p:nvSpPr>
          <p:spPr bwMode="auto">
            <a:xfrm>
              <a:off x="1854906"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2" name="Oval 751"/>
            <p:cNvSpPr>
              <a:spLocks noChangeAspect="1" noChangeArrowheads="1"/>
            </p:cNvSpPr>
            <p:nvPr userDrawn="1"/>
          </p:nvSpPr>
          <p:spPr bwMode="auto">
            <a:xfrm>
              <a:off x="1967990"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3" name="Oval 752"/>
            <p:cNvSpPr>
              <a:spLocks noChangeAspect="1" noChangeArrowheads="1"/>
            </p:cNvSpPr>
            <p:nvPr userDrawn="1"/>
          </p:nvSpPr>
          <p:spPr bwMode="auto">
            <a:xfrm>
              <a:off x="2079566"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4" name="Oval 753"/>
            <p:cNvSpPr>
              <a:spLocks noChangeAspect="1" noChangeArrowheads="1"/>
            </p:cNvSpPr>
            <p:nvPr userDrawn="1"/>
          </p:nvSpPr>
          <p:spPr bwMode="auto">
            <a:xfrm>
              <a:off x="219265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5" name="Oval 754"/>
            <p:cNvSpPr>
              <a:spLocks noChangeAspect="1" noChangeArrowheads="1"/>
            </p:cNvSpPr>
            <p:nvPr userDrawn="1"/>
          </p:nvSpPr>
          <p:spPr bwMode="auto">
            <a:xfrm>
              <a:off x="2304226"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6" name="Oval 755"/>
            <p:cNvSpPr>
              <a:spLocks noChangeAspect="1" noChangeArrowheads="1"/>
            </p:cNvSpPr>
            <p:nvPr userDrawn="1"/>
          </p:nvSpPr>
          <p:spPr bwMode="auto">
            <a:xfrm>
              <a:off x="2417310"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7" name="Oval 756"/>
            <p:cNvSpPr>
              <a:spLocks noChangeAspect="1" noChangeArrowheads="1"/>
            </p:cNvSpPr>
            <p:nvPr userDrawn="1"/>
          </p:nvSpPr>
          <p:spPr bwMode="auto">
            <a:xfrm>
              <a:off x="4214589"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8" name="Oval 757"/>
            <p:cNvSpPr>
              <a:spLocks noChangeAspect="1" noChangeArrowheads="1"/>
            </p:cNvSpPr>
            <p:nvPr userDrawn="1"/>
          </p:nvSpPr>
          <p:spPr bwMode="auto">
            <a:xfrm>
              <a:off x="4327672"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9" name="Oval 758"/>
            <p:cNvSpPr>
              <a:spLocks noChangeAspect="1" noChangeArrowheads="1"/>
            </p:cNvSpPr>
            <p:nvPr userDrawn="1"/>
          </p:nvSpPr>
          <p:spPr bwMode="auto">
            <a:xfrm>
              <a:off x="4439248"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0" name="Oval 759"/>
            <p:cNvSpPr>
              <a:spLocks noChangeAspect="1" noChangeArrowheads="1"/>
            </p:cNvSpPr>
            <p:nvPr userDrawn="1"/>
          </p:nvSpPr>
          <p:spPr bwMode="auto">
            <a:xfrm>
              <a:off x="4552332"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1" name="Oval 760"/>
            <p:cNvSpPr>
              <a:spLocks noChangeAspect="1" noChangeArrowheads="1"/>
            </p:cNvSpPr>
            <p:nvPr userDrawn="1"/>
          </p:nvSpPr>
          <p:spPr bwMode="auto">
            <a:xfrm>
              <a:off x="5226311"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2" name="Oval 761"/>
            <p:cNvSpPr>
              <a:spLocks noChangeAspect="1" noChangeArrowheads="1"/>
            </p:cNvSpPr>
            <p:nvPr userDrawn="1"/>
          </p:nvSpPr>
          <p:spPr bwMode="auto">
            <a:xfrm>
              <a:off x="5337887"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3" name="Oval 762"/>
            <p:cNvSpPr>
              <a:spLocks noChangeAspect="1" noChangeArrowheads="1"/>
            </p:cNvSpPr>
            <p:nvPr userDrawn="1"/>
          </p:nvSpPr>
          <p:spPr bwMode="auto">
            <a:xfrm>
              <a:off x="5450972"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4" name="Oval 763"/>
            <p:cNvSpPr>
              <a:spLocks noChangeAspect="1" noChangeArrowheads="1"/>
            </p:cNvSpPr>
            <p:nvPr userDrawn="1"/>
          </p:nvSpPr>
          <p:spPr bwMode="auto">
            <a:xfrm>
              <a:off x="5562548"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5" name="Oval 764"/>
            <p:cNvSpPr>
              <a:spLocks noChangeAspect="1" noChangeArrowheads="1"/>
            </p:cNvSpPr>
            <p:nvPr userDrawn="1"/>
          </p:nvSpPr>
          <p:spPr bwMode="auto">
            <a:xfrm>
              <a:off x="5675631"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6" name="Oval 765"/>
            <p:cNvSpPr>
              <a:spLocks noChangeAspect="1" noChangeArrowheads="1"/>
            </p:cNvSpPr>
            <p:nvPr userDrawn="1"/>
          </p:nvSpPr>
          <p:spPr bwMode="auto">
            <a:xfrm>
              <a:off x="5787207"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7" name="Oval 766"/>
            <p:cNvSpPr>
              <a:spLocks noChangeAspect="1" noChangeArrowheads="1"/>
            </p:cNvSpPr>
            <p:nvPr userDrawn="1"/>
          </p:nvSpPr>
          <p:spPr bwMode="auto">
            <a:xfrm>
              <a:off x="5900291"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8" name="Oval 767"/>
            <p:cNvSpPr>
              <a:spLocks noChangeAspect="1" noChangeArrowheads="1"/>
            </p:cNvSpPr>
            <p:nvPr userDrawn="1"/>
          </p:nvSpPr>
          <p:spPr bwMode="auto">
            <a:xfrm>
              <a:off x="6013375"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9" name="Oval 768"/>
            <p:cNvSpPr>
              <a:spLocks noChangeAspect="1" noChangeArrowheads="1"/>
            </p:cNvSpPr>
            <p:nvPr userDrawn="1"/>
          </p:nvSpPr>
          <p:spPr bwMode="auto">
            <a:xfrm>
              <a:off x="6124951"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0" name="Oval 769"/>
            <p:cNvSpPr>
              <a:spLocks noChangeAspect="1" noChangeArrowheads="1"/>
            </p:cNvSpPr>
            <p:nvPr userDrawn="1"/>
          </p:nvSpPr>
          <p:spPr bwMode="auto">
            <a:xfrm>
              <a:off x="6238035"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1" name="Oval 770"/>
            <p:cNvSpPr>
              <a:spLocks noChangeAspect="1" noChangeArrowheads="1"/>
            </p:cNvSpPr>
            <p:nvPr userDrawn="1"/>
          </p:nvSpPr>
          <p:spPr bwMode="auto">
            <a:xfrm>
              <a:off x="6349611"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2" name="Oval 771"/>
            <p:cNvSpPr>
              <a:spLocks noChangeAspect="1" noChangeArrowheads="1"/>
            </p:cNvSpPr>
            <p:nvPr userDrawn="1"/>
          </p:nvSpPr>
          <p:spPr bwMode="auto">
            <a:xfrm>
              <a:off x="6462694"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3" name="Oval 772"/>
            <p:cNvSpPr>
              <a:spLocks noChangeAspect="1" noChangeArrowheads="1"/>
            </p:cNvSpPr>
            <p:nvPr userDrawn="1"/>
          </p:nvSpPr>
          <p:spPr bwMode="auto">
            <a:xfrm>
              <a:off x="657427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4" name="Oval 773"/>
            <p:cNvSpPr>
              <a:spLocks noChangeAspect="1" noChangeArrowheads="1"/>
            </p:cNvSpPr>
            <p:nvPr userDrawn="1"/>
          </p:nvSpPr>
          <p:spPr bwMode="auto">
            <a:xfrm>
              <a:off x="6687355"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5" name="Oval 774"/>
            <p:cNvSpPr>
              <a:spLocks noChangeAspect="1" noChangeArrowheads="1"/>
            </p:cNvSpPr>
            <p:nvPr userDrawn="1"/>
          </p:nvSpPr>
          <p:spPr bwMode="auto">
            <a:xfrm>
              <a:off x="6798931"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6" name="Oval 775"/>
            <p:cNvSpPr>
              <a:spLocks noChangeAspect="1" noChangeArrowheads="1"/>
            </p:cNvSpPr>
            <p:nvPr userDrawn="1"/>
          </p:nvSpPr>
          <p:spPr bwMode="auto">
            <a:xfrm>
              <a:off x="6912014"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7" name="Oval 776"/>
            <p:cNvSpPr>
              <a:spLocks noChangeAspect="1" noChangeArrowheads="1"/>
            </p:cNvSpPr>
            <p:nvPr userDrawn="1"/>
          </p:nvSpPr>
          <p:spPr bwMode="auto">
            <a:xfrm>
              <a:off x="702359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8" name="Oval 777"/>
            <p:cNvSpPr>
              <a:spLocks noChangeAspect="1" noChangeArrowheads="1"/>
            </p:cNvSpPr>
            <p:nvPr userDrawn="1"/>
          </p:nvSpPr>
          <p:spPr bwMode="auto">
            <a:xfrm>
              <a:off x="7136674"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9" name="Oval 778"/>
            <p:cNvSpPr>
              <a:spLocks noChangeAspect="1" noChangeArrowheads="1"/>
            </p:cNvSpPr>
            <p:nvPr userDrawn="1"/>
          </p:nvSpPr>
          <p:spPr bwMode="auto">
            <a:xfrm>
              <a:off x="747291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0" name="Oval 779"/>
            <p:cNvSpPr>
              <a:spLocks noChangeAspect="1" noChangeArrowheads="1"/>
            </p:cNvSpPr>
            <p:nvPr userDrawn="1"/>
          </p:nvSpPr>
          <p:spPr bwMode="auto">
            <a:xfrm>
              <a:off x="7585994"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1" name="Oval 780"/>
            <p:cNvSpPr>
              <a:spLocks noChangeAspect="1" noChangeArrowheads="1"/>
            </p:cNvSpPr>
            <p:nvPr userDrawn="1"/>
          </p:nvSpPr>
          <p:spPr bwMode="auto">
            <a:xfrm>
              <a:off x="1630247"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2" name="Oval 781"/>
            <p:cNvSpPr>
              <a:spLocks noChangeAspect="1" noChangeArrowheads="1"/>
            </p:cNvSpPr>
            <p:nvPr userDrawn="1"/>
          </p:nvSpPr>
          <p:spPr bwMode="auto">
            <a:xfrm>
              <a:off x="1743330"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3" name="Oval 782"/>
            <p:cNvSpPr>
              <a:spLocks noChangeAspect="1" noChangeArrowheads="1"/>
            </p:cNvSpPr>
            <p:nvPr userDrawn="1"/>
          </p:nvSpPr>
          <p:spPr bwMode="auto">
            <a:xfrm>
              <a:off x="1854906"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4" name="Oval 783"/>
            <p:cNvSpPr>
              <a:spLocks noChangeAspect="1" noChangeArrowheads="1"/>
            </p:cNvSpPr>
            <p:nvPr userDrawn="1"/>
          </p:nvSpPr>
          <p:spPr bwMode="auto">
            <a:xfrm>
              <a:off x="1967990"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5" name="Oval 784"/>
            <p:cNvSpPr>
              <a:spLocks noChangeAspect="1" noChangeArrowheads="1"/>
            </p:cNvSpPr>
            <p:nvPr userDrawn="1"/>
          </p:nvSpPr>
          <p:spPr bwMode="auto">
            <a:xfrm>
              <a:off x="2079566"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6" name="Oval 785"/>
            <p:cNvSpPr>
              <a:spLocks noChangeAspect="1" noChangeArrowheads="1"/>
            </p:cNvSpPr>
            <p:nvPr userDrawn="1"/>
          </p:nvSpPr>
          <p:spPr bwMode="auto">
            <a:xfrm>
              <a:off x="2192650"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7" name="Oval 786"/>
            <p:cNvSpPr>
              <a:spLocks noChangeAspect="1" noChangeArrowheads="1"/>
            </p:cNvSpPr>
            <p:nvPr userDrawn="1"/>
          </p:nvSpPr>
          <p:spPr bwMode="auto">
            <a:xfrm>
              <a:off x="2304226"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8" name="Oval 787"/>
            <p:cNvSpPr>
              <a:spLocks noChangeAspect="1" noChangeArrowheads="1"/>
            </p:cNvSpPr>
            <p:nvPr userDrawn="1"/>
          </p:nvSpPr>
          <p:spPr bwMode="auto">
            <a:xfrm>
              <a:off x="2417310"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9" name="Oval 788"/>
            <p:cNvSpPr>
              <a:spLocks noChangeAspect="1" noChangeArrowheads="1"/>
            </p:cNvSpPr>
            <p:nvPr userDrawn="1"/>
          </p:nvSpPr>
          <p:spPr bwMode="auto">
            <a:xfrm>
              <a:off x="4103013"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0" name="Oval 789"/>
            <p:cNvSpPr>
              <a:spLocks noChangeAspect="1" noChangeArrowheads="1"/>
            </p:cNvSpPr>
            <p:nvPr userDrawn="1"/>
          </p:nvSpPr>
          <p:spPr bwMode="auto">
            <a:xfrm>
              <a:off x="4214589"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1" name="Oval 790"/>
            <p:cNvSpPr>
              <a:spLocks noChangeAspect="1" noChangeArrowheads="1"/>
            </p:cNvSpPr>
            <p:nvPr userDrawn="1"/>
          </p:nvSpPr>
          <p:spPr bwMode="auto">
            <a:xfrm>
              <a:off x="4327672"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2" name="Oval 791"/>
            <p:cNvSpPr>
              <a:spLocks noChangeAspect="1" noChangeArrowheads="1"/>
            </p:cNvSpPr>
            <p:nvPr userDrawn="1"/>
          </p:nvSpPr>
          <p:spPr bwMode="auto">
            <a:xfrm>
              <a:off x="4439248"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3" name="Oval 792"/>
            <p:cNvSpPr>
              <a:spLocks noChangeAspect="1" noChangeArrowheads="1"/>
            </p:cNvSpPr>
            <p:nvPr userDrawn="1"/>
          </p:nvSpPr>
          <p:spPr bwMode="auto">
            <a:xfrm>
              <a:off x="4552332"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4" name="Oval 793"/>
            <p:cNvSpPr>
              <a:spLocks noChangeAspect="1" noChangeArrowheads="1"/>
            </p:cNvSpPr>
            <p:nvPr userDrawn="1"/>
          </p:nvSpPr>
          <p:spPr bwMode="auto">
            <a:xfrm>
              <a:off x="4663908"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5" name="Oval 794"/>
            <p:cNvSpPr>
              <a:spLocks noChangeAspect="1" noChangeArrowheads="1"/>
            </p:cNvSpPr>
            <p:nvPr userDrawn="1"/>
          </p:nvSpPr>
          <p:spPr bwMode="auto">
            <a:xfrm>
              <a:off x="4776992"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6" name="Oval 795"/>
            <p:cNvSpPr>
              <a:spLocks noChangeAspect="1" noChangeArrowheads="1"/>
            </p:cNvSpPr>
            <p:nvPr userDrawn="1"/>
          </p:nvSpPr>
          <p:spPr bwMode="auto">
            <a:xfrm>
              <a:off x="4888568"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7" name="Oval 796"/>
            <p:cNvSpPr>
              <a:spLocks noChangeAspect="1" noChangeArrowheads="1"/>
            </p:cNvSpPr>
            <p:nvPr userDrawn="1"/>
          </p:nvSpPr>
          <p:spPr bwMode="auto">
            <a:xfrm>
              <a:off x="5001652"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8" name="Oval 797"/>
            <p:cNvSpPr>
              <a:spLocks noChangeAspect="1" noChangeArrowheads="1"/>
            </p:cNvSpPr>
            <p:nvPr userDrawn="1"/>
          </p:nvSpPr>
          <p:spPr bwMode="auto">
            <a:xfrm>
              <a:off x="5226311"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9" name="Oval 798"/>
            <p:cNvSpPr>
              <a:spLocks noChangeAspect="1" noChangeArrowheads="1"/>
            </p:cNvSpPr>
            <p:nvPr userDrawn="1"/>
          </p:nvSpPr>
          <p:spPr bwMode="auto">
            <a:xfrm>
              <a:off x="5337887"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0" name="Oval 799"/>
            <p:cNvSpPr>
              <a:spLocks noChangeAspect="1" noChangeArrowheads="1"/>
            </p:cNvSpPr>
            <p:nvPr userDrawn="1"/>
          </p:nvSpPr>
          <p:spPr bwMode="auto">
            <a:xfrm>
              <a:off x="5450972"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1" name="Oval 800"/>
            <p:cNvSpPr>
              <a:spLocks noChangeAspect="1" noChangeArrowheads="1"/>
            </p:cNvSpPr>
            <p:nvPr userDrawn="1"/>
          </p:nvSpPr>
          <p:spPr bwMode="auto">
            <a:xfrm>
              <a:off x="5562548"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2" name="Oval 801"/>
            <p:cNvSpPr>
              <a:spLocks noChangeAspect="1" noChangeArrowheads="1"/>
            </p:cNvSpPr>
            <p:nvPr userDrawn="1"/>
          </p:nvSpPr>
          <p:spPr bwMode="auto">
            <a:xfrm>
              <a:off x="5675631"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3" name="Oval 802"/>
            <p:cNvSpPr>
              <a:spLocks noChangeAspect="1" noChangeArrowheads="1"/>
            </p:cNvSpPr>
            <p:nvPr userDrawn="1"/>
          </p:nvSpPr>
          <p:spPr bwMode="auto">
            <a:xfrm>
              <a:off x="5787207"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4" name="Oval 803"/>
            <p:cNvSpPr>
              <a:spLocks noChangeAspect="1" noChangeArrowheads="1"/>
            </p:cNvSpPr>
            <p:nvPr userDrawn="1"/>
          </p:nvSpPr>
          <p:spPr bwMode="auto">
            <a:xfrm>
              <a:off x="5900291"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5" name="Oval 804"/>
            <p:cNvSpPr>
              <a:spLocks noChangeAspect="1" noChangeArrowheads="1"/>
            </p:cNvSpPr>
            <p:nvPr userDrawn="1"/>
          </p:nvSpPr>
          <p:spPr bwMode="auto">
            <a:xfrm>
              <a:off x="6013375"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6" name="Oval 805"/>
            <p:cNvSpPr>
              <a:spLocks noChangeAspect="1" noChangeArrowheads="1"/>
            </p:cNvSpPr>
            <p:nvPr userDrawn="1"/>
          </p:nvSpPr>
          <p:spPr bwMode="auto">
            <a:xfrm>
              <a:off x="6124951"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7" name="Oval 806"/>
            <p:cNvSpPr>
              <a:spLocks noChangeAspect="1" noChangeArrowheads="1"/>
            </p:cNvSpPr>
            <p:nvPr userDrawn="1"/>
          </p:nvSpPr>
          <p:spPr bwMode="auto">
            <a:xfrm>
              <a:off x="6238035"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8" name="Oval 807"/>
            <p:cNvSpPr>
              <a:spLocks noChangeAspect="1" noChangeArrowheads="1"/>
            </p:cNvSpPr>
            <p:nvPr userDrawn="1"/>
          </p:nvSpPr>
          <p:spPr bwMode="auto">
            <a:xfrm>
              <a:off x="6349611"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9" name="Oval 808"/>
            <p:cNvSpPr>
              <a:spLocks noChangeAspect="1" noChangeArrowheads="1"/>
            </p:cNvSpPr>
            <p:nvPr userDrawn="1"/>
          </p:nvSpPr>
          <p:spPr bwMode="auto">
            <a:xfrm>
              <a:off x="6462694"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0" name="Oval 809"/>
            <p:cNvSpPr>
              <a:spLocks noChangeAspect="1" noChangeArrowheads="1"/>
            </p:cNvSpPr>
            <p:nvPr userDrawn="1"/>
          </p:nvSpPr>
          <p:spPr bwMode="auto">
            <a:xfrm>
              <a:off x="6574270"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1" name="Oval 810"/>
            <p:cNvSpPr>
              <a:spLocks noChangeAspect="1" noChangeArrowheads="1"/>
            </p:cNvSpPr>
            <p:nvPr userDrawn="1"/>
          </p:nvSpPr>
          <p:spPr bwMode="auto">
            <a:xfrm>
              <a:off x="6687355"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2" name="Oval 811"/>
            <p:cNvSpPr>
              <a:spLocks noChangeAspect="1" noChangeArrowheads="1"/>
            </p:cNvSpPr>
            <p:nvPr userDrawn="1"/>
          </p:nvSpPr>
          <p:spPr bwMode="auto">
            <a:xfrm>
              <a:off x="6798931"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3" name="Oval 812"/>
            <p:cNvSpPr>
              <a:spLocks noChangeAspect="1" noChangeArrowheads="1"/>
            </p:cNvSpPr>
            <p:nvPr userDrawn="1"/>
          </p:nvSpPr>
          <p:spPr bwMode="auto">
            <a:xfrm>
              <a:off x="6912014"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4" name="Oval 813"/>
            <p:cNvSpPr>
              <a:spLocks noChangeAspect="1" noChangeArrowheads="1"/>
            </p:cNvSpPr>
            <p:nvPr userDrawn="1"/>
          </p:nvSpPr>
          <p:spPr bwMode="auto">
            <a:xfrm>
              <a:off x="7023590"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5" name="Oval 814"/>
            <p:cNvSpPr>
              <a:spLocks noChangeAspect="1" noChangeArrowheads="1"/>
            </p:cNvSpPr>
            <p:nvPr userDrawn="1"/>
          </p:nvSpPr>
          <p:spPr bwMode="auto">
            <a:xfrm>
              <a:off x="7136674"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6" name="Oval 815"/>
            <p:cNvSpPr>
              <a:spLocks noChangeAspect="1" noChangeArrowheads="1"/>
            </p:cNvSpPr>
            <p:nvPr userDrawn="1"/>
          </p:nvSpPr>
          <p:spPr bwMode="auto">
            <a:xfrm>
              <a:off x="1630247"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7" name="Oval 816"/>
            <p:cNvSpPr>
              <a:spLocks noChangeAspect="1" noChangeArrowheads="1"/>
            </p:cNvSpPr>
            <p:nvPr userDrawn="1"/>
          </p:nvSpPr>
          <p:spPr bwMode="auto">
            <a:xfrm>
              <a:off x="1743330"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8" name="Oval 817"/>
            <p:cNvSpPr>
              <a:spLocks noChangeAspect="1" noChangeArrowheads="1"/>
            </p:cNvSpPr>
            <p:nvPr userDrawn="1"/>
          </p:nvSpPr>
          <p:spPr bwMode="auto">
            <a:xfrm>
              <a:off x="1854906"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9" name="Oval 818"/>
            <p:cNvSpPr>
              <a:spLocks noChangeAspect="1" noChangeArrowheads="1"/>
            </p:cNvSpPr>
            <p:nvPr userDrawn="1"/>
          </p:nvSpPr>
          <p:spPr bwMode="auto">
            <a:xfrm>
              <a:off x="1967990"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0" name="Oval 819"/>
            <p:cNvSpPr>
              <a:spLocks noChangeAspect="1" noChangeArrowheads="1"/>
            </p:cNvSpPr>
            <p:nvPr userDrawn="1"/>
          </p:nvSpPr>
          <p:spPr bwMode="auto">
            <a:xfrm>
              <a:off x="2417310"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1" name="Oval 820"/>
            <p:cNvSpPr>
              <a:spLocks noChangeAspect="1" noChangeArrowheads="1"/>
            </p:cNvSpPr>
            <p:nvPr userDrawn="1"/>
          </p:nvSpPr>
          <p:spPr bwMode="auto">
            <a:xfrm>
              <a:off x="4103013"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2" name="Oval 821"/>
            <p:cNvSpPr>
              <a:spLocks noChangeAspect="1" noChangeArrowheads="1"/>
            </p:cNvSpPr>
            <p:nvPr userDrawn="1"/>
          </p:nvSpPr>
          <p:spPr bwMode="auto">
            <a:xfrm>
              <a:off x="4214589"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3" name="Oval 822"/>
            <p:cNvSpPr>
              <a:spLocks noChangeAspect="1" noChangeArrowheads="1"/>
            </p:cNvSpPr>
            <p:nvPr userDrawn="1"/>
          </p:nvSpPr>
          <p:spPr bwMode="auto">
            <a:xfrm>
              <a:off x="4327672"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4" name="Oval 823"/>
            <p:cNvSpPr>
              <a:spLocks noChangeAspect="1" noChangeArrowheads="1"/>
            </p:cNvSpPr>
            <p:nvPr userDrawn="1"/>
          </p:nvSpPr>
          <p:spPr bwMode="auto">
            <a:xfrm>
              <a:off x="4439248"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5" name="Oval 824"/>
            <p:cNvSpPr>
              <a:spLocks noChangeAspect="1" noChangeArrowheads="1"/>
            </p:cNvSpPr>
            <p:nvPr userDrawn="1"/>
          </p:nvSpPr>
          <p:spPr bwMode="auto">
            <a:xfrm>
              <a:off x="4552332"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6" name="Oval 825"/>
            <p:cNvSpPr>
              <a:spLocks noChangeAspect="1" noChangeArrowheads="1"/>
            </p:cNvSpPr>
            <p:nvPr userDrawn="1"/>
          </p:nvSpPr>
          <p:spPr bwMode="auto">
            <a:xfrm>
              <a:off x="4663908"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7" name="Oval 826"/>
            <p:cNvSpPr>
              <a:spLocks noChangeAspect="1" noChangeArrowheads="1"/>
            </p:cNvSpPr>
            <p:nvPr userDrawn="1"/>
          </p:nvSpPr>
          <p:spPr bwMode="auto">
            <a:xfrm>
              <a:off x="4776992"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8" name="Oval 827"/>
            <p:cNvSpPr>
              <a:spLocks noChangeAspect="1" noChangeArrowheads="1"/>
            </p:cNvSpPr>
            <p:nvPr userDrawn="1"/>
          </p:nvSpPr>
          <p:spPr bwMode="auto">
            <a:xfrm>
              <a:off x="4888568"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9" name="Oval 828"/>
            <p:cNvSpPr>
              <a:spLocks noChangeAspect="1" noChangeArrowheads="1"/>
            </p:cNvSpPr>
            <p:nvPr userDrawn="1"/>
          </p:nvSpPr>
          <p:spPr bwMode="auto">
            <a:xfrm>
              <a:off x="5001652"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0" name="Oval 829"/>
            <p:cNvSpPr>
              <a:spLocks noChangeAspect="1" noChangeArrowheads="1"/>
            </p:cNvSpPr>
            <p:nvPr userDrawn="1"/>
          </p:nvSpPr>
          <p:spPr bwMode="auto">
            <a:xfrm>
              <a:off x="5113228"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1" name="Oval 830"/>
            <p:cNvSpPr>
              <a:spLocks noChangeAspect="1" noChangeArrowheads="1"/>
            </p:cNvSpPr>
            <p:nvPr userDrawn="1"/>
          </p:nvSpPr>
          <p:spPr bwMode="auto">
            <a:xfrm>
              <a:off x="5226311"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2" name="Oval 831"/>
            <p:cNvSpPr>
              <a:spLocks noChangeAspect="1" noChangeArrowheads="1"/>
            </p:cNvSpPr>
            <p:nvPr userDrawn="1"/>
          </p:nvSpPr>
          <p:spPr bwMode="auto">
            <a:xfrm>
              <a:off x="5337887"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3" name="Oval 832"/>
            <p:cNvSpPr>
              <a:spLocks noChangeAspect="1" noChangeArrowheads="1"/>
            </p:cNvSpPr>
            <p:nvPr userDrawn="1"/>
          </p:nvSpPr>
          <p:spPr bwMode="auto">
            <a:xfrm>
              <a:off x="5450972"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4" name="Oval 833"/>
            <p:cNvSpPr>
              <a:spLocks noChangeAspect="1" noChangeArrowheads="1"/>
            </p:cNvSpPr>
            <p:nvPr userDrawn="1"/>
          </p:nvSpPr>
          <p:spPr bwMode="auto">
            <a:xfrm>
              <a:off x="5562548"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5" name="Oval 834"/>
            <p:cNvSpPr>
              <a:spLocks noChangeAspect="1" noChangeArrowheads="1"/>
            </p:cNvSpPr>
            <p:nvPr userDrawn="1"/>
          </p:nvSpPr>
          <p:spPr bwMode="auto">
            <a:xfrm>
              <a:off x="5675631"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6" name="Oval 835"/>
            <p:cNvSpPr>
              <a:spLocks noChangeAspect="1" noChangeArrowheads="1"/>
            </p:cNvSpPr>
            <p:nvPr userDrawn="1"/>
          </p:nvSpPr>
          <p:spPr bwMode="auto">
            <a:xfrm>
              <a:off x="5787207"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7" name="Oval 836"/>
            <p:cNvSpPr>
              <a:spLocks noChangeAspect="1" noChangeArrowheads="1"/>
            </p:cNvSpPr>
            <p:nvPr userDrawn="1"/>
          </p:nvSpPr>
          <p:spPr bwMode="auto">
            <a:xfrm>
              <a:off x="5900291"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8" name="Oval 837"/>
            <p:cNvSpPr>
              <a:spLocks noChangeAspect="1" noChangeArrowheads="1"/>
            </p:cNvSpPr>
            <p:nvPr userDrawn="1"/>
          </p:nvSpPr>
          <p:spPr bwMode="auto">
            <a:xfrm>
              <a:off x="6013375"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9" name="Oval 838"/>
            <p:cNvSpPr>
              <a:spLocks noChangeAspect="1" noChangeArrowheads="1"/>
            </p:cNvSpPr>
            <p:nvPr userDrawn="1"/>
          </p:nvSpPr>
          <p:spPr bwMode="auto">
            <a:xfrm>
              <a:off x="6124951"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0" name="Oval 839"/>
            <p:cNvSpPr>
              <a:spLocks noChangeAspect="1" noChangeArrowheads="1"/>
            </p:cNvSpPr>
            <p:nvPr userDrawn="1"/>
          </p:nvSpPr>
          <p:spPr bwMode="auto">
            <a:xfrm>
              <a:off x="6238035"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1" name="Oval 840"/>
            <p:cNvSpPr>
              <a:spLocks noChangeAspect="1" noChangeArrowheads="1"/>
            </p:cNvSpPr>
            <p:nvPr userDrawn="1"/>
          </p:nvSpPr>
          <p:spPr bwMode="auto">
            <a:xfrm>
              <a:off x="6349611"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2" name="Oval 841"/>
            <p:cNvSpPr>
              <a:spLocks noChangeAspect="1" noChangeArrowheads="1"/>
            </p:cNvSpPr>
            <p:nvPr userDrawn="1"/>
          </p:nvSpPr>
          <p:spPr bwMode="auto">
            <a:xfrm>
              <a:off x="6462694"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3" name="Oval 842"/>
            <p:cNvSpPr>
              <a:spLocks noChangeAspect="1" noChangeArrowheads="1"/>
            </p:cNvSpPr>
            <p:nvPr userDrawn="1"/>
          </p:nvSpPr>
          <p:spPr bwMode="auto">
            <a:xfrm>
              <a:off x="6574270"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4" name="Oval 843"/>
            <p:cNvSpPr>
              <a:spLocks noChangeAspect="1" noChangeArrowheads="1"/>
            </p:cNvSpPr>
            <p:nvPr userDrawn="1"/>
          </p:nvSpPr>
          <p:spPr bwMode="auto">
            <a:xfrm>
              <a:off x="6687355"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5" name="Oval 844"/>
            <p:cNvSpPr>
              <a:spLocks noChangeAspect="1" noChangeArrowheads="1"/>
            </p:cNvSpPr>
            <p:nvPr userDrawn="1"/>
          </p:nvSpPr>
          <p:spPr bwMode="auto">
            <a:xfrm>
              <a:off x="6798931"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6" name="Oval 845"/>
            <p:cNvSpPr>
              <a:spLocks noChangeAspect="1" noChangeArrowheads="1"/>
            </p:cNvSpPr>
            <p:nvPr userDrawn="1"/>
          </p:nvSpPr>
          <p:spPr bwMode="auto">
            <a:xfrm>
              <a:off x="6912014"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7" name="Oval 846"/>
            <p:cNvSpPr>
              <a:spLocks noChangeAspect="1" noChangeArrowheads="1"/>
            </p:cNvSpPr>
            <p:nvPr userDrawn="1"/>
          </p:nvSpPr>
          <p:spPr bwMode="auto">
            <a:xfrm>
              <a:off x="7023590"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8" name="Oval 847"/>
            <p:cNvSpPr>
              <a:spLocks noChangeAspect="1" noChangeArrowheads="1"/>
            </p:cNvSpPr>
            <p:nvPr userDrawn="1"/>
          </p:nvSpPr>
          <p:spPr bwMode="auto">
            <a:xfrm>
              <a:off x="7136674"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9" name="Oval 848"/>
            <p:cNvSpPr>
              <a:spLocks noChangeAspect="1" noChangeArrowheads="1"/>
            </p:cNvSpPr>
            <p:nvPr userDrawn="1"/>
          </p:nvSpPr>
          <p:spPr bwMode="auto">
            <a:xfrm>
              <a:off x="1743330"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0" name="Oval 849"/>
            <p:cNvSpPr>
              <a:spLocks noChangeAspect="1" noChangeArrowheads="1"/>
            </p:cNvSpPr>
            <p:nvPr userDrawn="1"/>
          </p:nvSpPr>
          <p:spPr bwMode="auto">
            <a:xfrm>
              <a:off x="1854906"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1" name="Oval 850"/>
            <p:cNvSpPr>
              <a:spLocks noChangeAspect="1" noChangeArrowheads="1"/>
            </p:cNvSpPr>
            <p:nvPr userDrawn="1"/>
          </p:nvSpPr>
          <p:spPr bwMode="auto">
            <a:xfrm>
              <a:off x="1967990"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2" name="Oval 851"/>
            <p:cNvSpPr>
              <a:spLocks noChangeAspect="1" noChangeArrowheads="1"/>
            </p:cNvSpPr>
            <p:nvPr userDrawn="1"/>
          </p:nvSpPr>
          <p:spPr bwMode="auto">
            <a:xfrm>
              <a:off x="3989928"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3" name="Oval 852"/>
            <p:cNvSpPr>
              <a:spLocks noChangeAspect="1" noChangeArrowheads="1"/>
            </p:cNvSpPr>
            <p:nvPr userDrawn="1"/>
          </p:nvSpPr>
          <p:spPr bwMode="auto">
            <a:xfrm>
              <a:off x="4103013"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4" name="Oval 853"/>
            <p:cNvSpPr>
              <a:spLocks noChangeAspect="1" noChangeArrowheads="1"/>
            </p:cNvSpPr>
            <p:nvPr userDrawn="1"/>
          </p:nvSpPr>
          <p:spPr bwMode="auto">
            <a:xfrm>
              <a:off x="4214589"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5" name="Oval 854"/>
            <p:cNvSpPr>
              <a:spLocks noChangeAspect="1" noChangeArrowheads="1"/>
            </p:cNvSpPr>
            <p:nvPr userDrawn="1"/>
          </p:nvSpPr>
          <p:spPr bwMode="auto">
            <a:xfrm>
              <a:off x="4327672"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6" name="Oval 855"/>
            <p:cNvSpPr>
              <a:spLocks noChangeAspect="1" noChangeArrowheads="1"/>
            </p:cNvSpPr>
            <p:nvPr userDrawn="1"/>
          </p:nvSpPr>
          <p:spPr bwMode="auto">
            <a:xfrm>
              <a:off x="4439248"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7" name="Oval 856"/>
            <p:cNvSpPr>
              <a:spLocks noChangeAspect="1" noChangeArrowheads="1"/>
            </p:cNvSpPr>
            <p:nvPr userDrawn="1"/>
          </p:nvSpPr>
          <p:spPr bwMode="auto">
            <a:xfrm>
              <a:off x="4552332"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8" name="Oval 857"/>
            <p:cNvSpPr>
              <a:spLocks noChangeAspect="1" noChangeArrowheads="1"/>
            </p:cNvSpPr>
            <p:nvPr userDrawn="1"/>
          </p:nvSpPr>
          <p:spPr bwMode="auto">
            <a:xfrm>
              <a:off x="4663908"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9" name="Oval 858"/>
            <p:cNvSpPr>
              <a:spLocks noChangeAspect="1" noChangeArrowheads="1"/>
            </p:cNvSpPr>
            <p:nvPr userDrawn="1"/>
          </p:nvSpPr>
          <p:spPr bwMode="auto">
            <a:xfrm>
              <a:off x="4776992"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0" name="Oval 859"/>
            <p:cNvSpPr>
              <a:spLocks noChangeAspect="1" noChangeArrowheads="1"/>
            </p:cNvSpPr>
            <p:nvPr userDrawn="1"/>
          </p:nvSpPr>
          <p:spPr bwMode="auto">
            <a:xfrm>
              <a:off x="4888568"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1" name="Oval 860"/>
            <p:cNvSpPr>
              <a:spLocks noChangeAspect="1" noChangeArrowheads="1"/>
            </p:cNvSpPr>
            <p:nvPr userDrawn="1"/>
          </p:nvSpPr>
          <p:spPr bwMode="auto">
            <a:xfrm>
              <a:off x="5001652"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2" name="Oval 861"/>
            <p:cNvSpPr>
              <a:spLocks noChangeAspect="1" noChangeArrowheads="1"/>
            </p:cNvSpPr>
            <p:nvPr userDrawn="1"/>
          </p:nvSpPr>
          <p:spPr bwMode="auto">
            <a:xfrm>
              <a:off x="5113228"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3" name="Oval 862"/>
            <p:cNvSpPr>
              <a:spLocks noChangeAspect="1" noChangeArrowheads="1"/>
            </p:cNvSpPr>
            <p:nvPr userDrawn="1"/>
          </p:nvSpPr>
          <p:spPr bwMode="auto">
            <a:xfrm>
              <a:off x="5226311"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4" name="Oval 863"/>
            <p:cNvSpPr>
              <a:spLocks noChangeAspect="1" noChangeArrowheads="1"/>
            </p:cNvSpPr>
            <p:nvPr userDrawn="1"/>
          </p:nvSpPr>
          <p:spPr bwMode="auto">
            <a:xfrm>
              <a:off x="5337887"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5" name="Oval 864"/>
            <p:cNvSpPr>
              <a:spLocks noChangeAspect="1" noChangeArrowheads="1"/>
            </p:cNvSpPr>
            <p:nvPr userDrawn="1"/>
          </p:nvSpPr>
          <p:spPr bwMode="auto">
            <a:xfrm>
              <a:off x="5450972"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6" name="Oval 865"/>
            <p:cNvSpPr>
              <a:spLocks noChangeAspect="1" noChangeArrowheads="1"/>
            </p:cNvSpPr>
            <p:nvPr userDrawn="1"/>
          </p:nvSpPr>
          <p:spPr bwMode="auto">
            <a:xfrm>
              <a:off x="5562548"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7" name="Oval 866"/>
            <p:cNvSpPr>
              <a:spLocks noChangeAspect="1" noChangeArrowheads="1"/>
            </p:cNvSpPr>
            <p:nvPr userDrawn="1"/>
          </p:nvSpPr>
          <p:spPr bwMode="auto">
            <a:xfrm>
              <a:off x="5675631"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8" name="Oval 867"/>
            <p:cNvSpPr>
              <a:spLocks noChangeAspect="1" noChangeArrowheads="1"/>
            </p:cNvSpPr>
            <p:nvPr userDrawn="1"/>
          </p:nvSpPr>
          <p:spPr bwMode="auto">
            <a:xfrm>
              <a:off x="5787207"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9" name="Oval 868"/>
            <p:cNvSpPr>
              <a:spLocks noChangeAspect="1" noChangeArrowheads="1"/>
            </p:cNvSpPr>
            <p:nvPr userDrawn="1"/>
          </p:nvSpPr>
          <p:spPr bwMode="auto">
            <a:xfrm>
              <a:off x="5900291"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0" name="Oval 869"/>
            <p:cNvSpPr>
              <a:spLocks noChangeAspect="1" noChangeArrowheads="1"/>
            </p:cNvSpPr>
            <p:nvPr userDrawn="1"/>
          </p:nvSpPr>
          <p:spPr bwMode="auto">
            <a:xfrm>
              <a:off x="6013375"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1" name="Oval 870"/>
            <p:cNvSpPr>
              <a:spLocks noChangeAspect="1" noChangeArrowheads="1"/>
            </p:cNvSpPr>
            <p:nvPr userDrawn="1"/>
          </p:nvSpPr>
          <p:spPr bwMode="auto">
            <a:xfrm>
              <a:off x="6124951"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2" name="Oval 871"/>
            <p:cNvSpPr>
              <a:spLocks noChangeAspect="1" noChangeArrowheads="1"/>
            </p:cNvSpPr>
            <p:nvPr userDrawn="1"/>
          </p:nvSpPr>
          <p:spPr bwMode="auto">
            <a:xfrm>
              <a:off x="6238035"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3" name="Oval 872"/>
            <p:cNvSpPr>
              <a:spLocks noChangeAspect="1" noChangeArrowheads="1"/>
            </p:cNvSpPr>
            <p:nvPr userDrawn="1"/>
          </p:nvSpPr>
          <p:spPr bwMode="auto">
            <a:xfrm>
              <a:off x="6349611"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4" name="Oval 873"/>
            <p:cNvSpPr>
              <a:spLocks noChangeAspect="1" noChangeArrowheads="1"/>
            </p:cNvSpPr>
            <p:nvPr userDrawn="1"/>
          </p:nvSpPr>
          <p:spPr bwMode="auto">
            <a:xfrm>
              <a:off x="6462694"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5" name="Oval 874"/>
            <p:cNvSpPr>
              <a:spLocks noChangeAspect="1" noChangeArrowheads="1"/>
            </p:cNvSpPr>
            <p:nvPr userDrawn="1"/>
          </p:nvSpPr>
          <p:spPr bwMode="auto">
            <a:xfrm>
              <a:off x="6574270"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6" name="Oval 875"/>
            <p:cNvSpPr>
              <a:spLocks noChangeAspect="1" noChangeArrowheads="1"/>
            </p:cNvSpPr>
            <p:nvPr userDrawn="1"/>
          </p:nvSpPr>
          <p:spPr bwMode="auto">
            <a:xfrm>
              <a:off x="6687355"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7" name="Oval 876"/>
            <p:cNvSpPr>
              <a:spLocks noChangeAspect="1" noChangeArrowheads="1"/>
            </p:cNvSpPr>
            <p:nvPr userDrawn="1"/>
          </p:nvSpPr>
          <p:spPr bwMode="auto">
            <a:xfrm>
              <a:off x="6798931"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8" name="Oval 877"/>
            <p:cNvSpPr>
              <a:spLocks noChangeAspect="1" noChangeArrowheads="1"/>
            </p:cNvSpPr>
            <p:nvPr userDrawn="1"/>
          </p:nvSpPr>
          <p:spPr bwMode="auto">
            <a:xfrm>
              <a:off x="6912014"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9" name="Oval 878"/>
            <p:cNvSpPr>
              <a:spLocks noChangeAspect="1" noChangeArrowheads="1"/>
            </p:cNvSpPr>
            <p:nvPr userDrawn="1"/>
          </p:nvSpPr>
          <p:spPr bwMode="auto">
            <a:xfrm>
              <a:off x="7023590"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0" name="Oval 879"/>
            <p:cNvSpPr>
              <a:spLocks noChangeAspect="1" noChangeArrowheads="1"/>
            </p:cNvSpPr>
            <p:nvPr userDrawn="1"/>
          </p:nvSpPr>
          <p:spPr bwMode="auto">
            <a:xfrm>
              <a:off x="7136674"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1" name="Oval 880"/>
            <p:cNvSpPr>
              <a:spLocks noChangeAspect="1" noChangeArrowheads="1"/>
            </p:cNvSpPr>
            <p:nvPr userDrawn="1"/>
          </p:nvSpPr>
          <p:spPr bwMode="auto">
            <a:xfrm>
              <a:off x="1854906"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2" name="Oval 881"/>
            <p:cNvSpPr>
              <a:spLocks noChangeAspect="1" noChangeArrowheads="1"/>
            </p:cNvSpPr>
            <p:nvPr userDrawn="1"/>
          </p:nvSpPr>
          <p:spPr bwMode="auto">
            <a:xfrm>
              <a:off x="1967990"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3" name="Oval 882"/>
            <p:cNvSpPr>
              <a:spLocks noChangeAspect="1" noChangeArrowheads="1"/>
            </p:cNvSpPr>
            <p:nvPr userDrawn="1"/>
          </p:nvSpPr>
          <p:spPr bwMode="auto">
            <a:xfrm>
              <a:off x="2192650"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4" name="Oval 883"/>
            <p:cNvSpPr>
              <a:spLocks noChangeAspect="1" noChangeArrowheads="1"/>
            </p:cNvSpPr>
            <p:nvPr userDrawn="1"/>
          </p:nvSpPr>
          <p:spPr bwMode="auto">
            <a:xfrm>
              <a:off x="2417310"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5" name="Oval 884"/>
            <p:cNvSpPr>
              <a:spLocks noChangeAspect="1" noChangeArrowheads="1"/>
            </p:cNvSpPr>
            <p:nvPr userDrawn="1"/>
          </p:nvSpPr>
          <p:spPr bwMode="auto">
            <a:xfrm>
              <a:off x="3989928"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6" name="Oval 885"/>
            <p:cNvSpPr>
              <a:spLocks noChangeAspect="1" noChangeArrowheads="1"/>
            </p:cNvSpPr>
            <p:nvPr userDrawn="1"/>
          </p:nvSpPr>
          <p:spPr bwMode="auto">
            <a:xfrm>
              <a:off x="4103013"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7" name="Oval 886"/>
            <p:cNvSpPr>
              <a:spLocks noChangeAspect="1" noChangeArrowheads="1"/>
            </p:cNvSpPr>
            <p:nvPr userDrawn="1"/>
          </p:nvSpPr>
          <p:spPr bwMode="auto">
            <a:xfrm>
              <a:off x="4214589"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8" name="Oval 887"/>
            <p:cNvSpPr>
              <a:spLocks noChangeAspect="1" noChangeArrowheads="1"/>
            </p:cNvSpPr>
            <p:nvPr userDrawn="1"/>
          </p:nvSpPr>
          <p:spPr bwMode="auto">
            <a:xfrm>
              <a:off x="4327672"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9" name="Oval 888"/>
            <p:cNvSpPr>
              <a:spLocks noChangeAspect="1" noChangeArrowheads="1"/>
            </p:cNvSpPr>
            <p:nvPr userDrawn="1"/>
          </p:nvSpPr>
          <p:spPr bwMode="auto">
            <a:xfrm>
              <a:off x="4439248"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0" name="Oval 889"/>
            <p:cNvSpPr>
              <a:spLocks noChangeAspect="1" noChangeArrowheads="1"/>
            </p:cNvSpPr>
            <p:nvPr userDrawn="1"/>
          </p:nvSpPr>
          <p:spPr bwMode="auto">
            <a:xfrm>
              <a:off x="4552332"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1" name="Oval 890"/>
            <p:cNvSpPr>
              <a:spLocks noChangeAspect="1" noChangeArrowheads="1"/>
            </p:cNvSpPr>
            <p:nvPr userDrawn="1"/>
          </p:nvSpPr>
          <p:spPr bwMode="auto">
            <a:xfrm>
              <a:off x="4663908"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2" name="Oval 891"/>
            <p:cNvSpPr>
              <a:spLocks noChangeAspect="1" noChangeArrowheads="1"/>
            </p:cNvSpPr>
            <p:nvPr userDrawn="1"/>
          </p:nvSpPr>
          <p:spPr bwMode="auto">
            <a:xfrm>
              <a:off x="4776992"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3" name="Oval 892"/>
            <p:cNvSpPr>
              <a:spLocks noChangeAspect="1" noChangeArrowheads="1"/>
            </p:cNvSpPr>
            <p:nvPr userDrawn="1"/>
          </p:nvSpPr>
          <p:spPr bwMode="auto">
            <a:xfrm>
              <a:off x="4888568"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4" name="Oval 893"/>
            <p:cNvSpPr>
              <a:spLocks noChangeAspect="1" noChangeArrowheads="1"/>
            </p:cNvSpPr>
            <p:nvPr userDrawn="1"/>
          </p:nvSpPr>
          <p:spPr bwMode="auto">
            <a:xfrm>
              <a:off x="5001652"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5" name="Oval 894"/>
            <p:cNvSpPr>
              <a:spLocks noChangeAspect="1" noChangeArrowheads="1"/>
            </p:cNvSpPr>
            <p:nvPr userDrawn="1"/>
          </p:nvSpPr>
          <p:spPr bwMode="auto">
            <a:xfrm>
              <a:off x="5113228"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6" name="Oval 895"/>
            <p:cNvSpPr>
              <a:spLocks noChangeAspect="1" noChangeArrowheads="1"/>
            </p:cNvSpPr>
            <p:nvPr userDrawn="1"/>
          </p:nvSpPr>
          <p:spPr bwMode="auto">
            <a:xfrm>
              <a:off x="5337887"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7" name="Oval 896"/>
            <p:cNvSpPr>
              <a:spLocks noChangeAspect="1" noChangeArrowheads="1"/>
            </p:cNvSpPr>
            <p:nvPr userDrawn="1"/>
          </p:nvSpPr>
          <p:spPr bwMode="auto">
            <a:xfrm>
              <a:off x="5450972"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8" name="Oval 897"/>
            <p:cNvSpPr>
              <a:spLocks noChangeAspect="1" noChangeArrowheads="1"/>
            </p:cNvSpPr>
            <p:nvPr userDrawn="1"/>
          </p:nvSpPr>
          <p:spPr bwMode="auto">
            <a:xfrm>
              <a:off x="5562548"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9" name="Oval 898"/>
            <p:cNvSpPr>
              <a:spLocks noChangeAspect="1" noChangeArrowheads="1"/>
            </p:cNvSpPr>
            <p:nvPr userDrawn="1"/>
          </p:nvSpPr>
          <p:spPr bwMode="auto">
            <a:xfrm>
              <a:off x="5675631"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0" name="Oval 899"/>
            <p:cNvSpPr>
              <a:spLocks noChangeAspect="1" noChangeArrowheads="1"/>
            </p:cNvSpPr>
            <p:nvPr userDrawn="1"/>
          </p:nvSpPr>
          <p:spPr bwMode="auto">
            <a:xfrm>
              <a:off x="6013375"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1" name="Oval 900"/>
            <p:cNvSpPr>
              <a:spLocks noChangeAspect="1" noChangeArrowheads="1"/>
            </p:cNvSpPr>
            <p:nvPr userDrawn="1"/>
          </p:nvSpPr>
          <p:spPr bwMode="auto">
            <a:xfrm>
              <a:off x="6124951"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2" name="Oval 901"/>
            <p:cNvSpPr>
              <a:spLocks noChangeAspect="1" noChangeArrowheads="1"/>
            </p:cNvSpPr>
            <p:nvPr userDrawn="1"/>
          </p:nvSpPr>
          <p:spPr bwMode="auto">
            <a:xfrm>
              <a:off x="6238035"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3" name="Oval 902"/>
            <p:cNvSpPr>
              <a:spLocks noChangeAspect="1" noChangeArrowheads="1"/>
            </p:cNvSpPr>
            <p:nvPr userDrawn="1"/>
          </p:nvSpPr>
          <p:spPr bwMode="auto">
            <a:xfrm>
              <a:off x="6349611"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4" name="Oval 903"/>
            <p:cNvSpPr>
              <a:spLocks noChangeAspect="1" noChangeArrowheads="1"/>
            </p:cNvSpPr>
            <p:nvPr userDrawn="1"/>
          </p:nvSpPr>
          <p:spPr bwMode="auto">
            <a:xfrm>
              <a:off x="6574270"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5" name="Oval 904"/>
            <p:cNvSpPr>
              <a:spLocks noChangeAspect="1" noChangeArrowheads="1"/>
            </p:cNvSpPr>
            <p:nvPr userDrawn="1"/>
          </p:nvSpPr>
          <p:spPr bwMode="auto">
            <a:xfrm>
              <a:off x="6687355"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6" name="Oval 905"/>
            <p:cNvSpPr>
              <a:spLocks noChangeAspect="1" noChangeArrowheads="1"/>
            </p:cNvSpPr>
            <p:nvPr userDrawn="1"/>
          </p:nvSpPr>
          <p:spPr bwMode="auto">
            <a:xfrm>
              <a:off x="6798931"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7" name="Oval 906"/>
            <p:cNvSpPr>
              <a:spLocks noChangeAspect="1" noChangeArrowheads="1"/>
            </p:cNvSpPr>
            <p:nvPr userDrawn="1"/>
          </p:nvSpPr>
          <p:spPr bwMode="auto">
            <a:xfrm>
              <a:off x="1854906"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8" name="Oval 907"/>
            <p:cNvSpPr>
              <a:spLocks noChangeAspect="1" noChangeArrowheads="1"/>
            </p:cNvSpPr>
            <p:nvPr userDrawn="1"/>
          </p:nvSpPr>
          <p:spPr bwMode="auto">
            <a:xfrm>
              <a:off x="1967990"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9" name="Oval 908"/>
            <p:cNvSpPr>
              <a:spLocks noChangeAspect="1" noChangeArrowheads="1"/>
            </p:cNvSpPr>
            <p:nvPr userDrawn="1"/>
          </p:nvSpPr>
          <p:spPr bwMode="auto">
            <a:xfrm>
              <a:off x="2079566"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0" name="Oval 909"/>
            <p:cNvSpPr>
              <a:spLocks noChangeAspect="1" noChangeArrowheads="1"/>
            </p:cNvSpPr>
            <p:nvPr userDrawn="1"/>
          </p:nvSpPr>
          <p:spPr bwMode="auto">
            <a:xfrm>
              <a:off x="2192650"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1" name="Oval 910"/>
            <p:cNvSpPr>
              <a:spLocks noChangeAspect="1" noChangeArrowheads="1"/>
            </p:cNvSpPr>
            <p:nvPr userDrawn="1"/>
          </p:nvSpPr>
          <p:spPr bwMode="auto">
            <a:xfrm>
              <a:off x="2641969"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2" name="Oval 911"/>
            <p:cNvSpPr>
              <a:spLocks noChangeAspect="1" noChangeArrowheads="1"/>
            </p:cNvSpPr>
            <p:nvPr userDrawn="1"/>
          </p:nvSpPr>
          <p:spPr bwMode="auto">
            <a:xfrm>
              <a:off x="3989928"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3" name="Oval 912"/>
            <p:cNvSpPr>
              <a:spLocks noChangeAspect="1" noChangeArrowheads="1"/>
            </p:cNvSpPr>
            <p:nvPr userDrawn="1"/>
          </p:nvSpPr>
          <p:spPr bwMode="auto">
            <a:xfrm>
              <a:off x="4103013"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4" name="Oval 913"/>
            <p:cNvSpPr>
              <a:spLocks noChangeAspect="1" noChangeArrowheads="1"/>
            </p:cNvSpPr>
            <p:nvPr userDrawn="1"/>
          </p:nvSpPr>
          <p:spPr bwMode="auto">
            <a:xfrm>
              <a:off x="4214589"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5" name="Oval 914"/>
            <p:cNvSpPr>
              <a:spLocks noChangeAspect="1" noChangeArrowheads="1"/>
            </p:cNvSpPr>
            <p:nvPr userDrawn="1"/>
          </p:nvSpPr>
          <p:spPr bwMode="auto">
            <a:xfrm>
              <a:off x="4327672"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6" name="Oval 915"/>
            <p:cNvSpPr>
              <a:spLocks noChangeAspect="1" noChangeArrowheads="1"/>
            </p:cNvSpPr>
            <p:nvPr userDrawn="1"/>
          </p:nvSpPr>
          <p:spPr bwMode="auto">
            <a:xfrm>
              <a:off x="4439248"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7" name="Oval 916"/>
            <p:cNvSpPr>
              <a:spLocks noChangeAspect="1" noChangeArrowheads="1"/>
            </p:cNvSpPr>
            <p:nvPr userDrawn="1"/>
          </p:nvSpPr>
          <p:spPr bwMode="auto">
            <a:xfrm>
              <a:off x="4552332"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8" name="Oval 917"/>
            <p:cNvSpPr>
              <a:spLocks noChangeAspect="1" noChangeArrowheads="1"/>
            </p:cNvSpPr>
            <p:nvPr userDrawn="1"/>
          </p:nvSpPr>
          <p:spPr bwMode="auto">
            <a:xfrm>
              <a:off x="4663908"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9" name="Oval 918"/>
            <p:cNvSpPr>
              <a:spLocks noChangeAspect="1" noChangeArrowheads="1"/>
            </p:cNvSpPr>
            <p:nvPr userDrawn="1"/>
          </p:nvSpPr>
          <p:spPr bwMode="auto">
            <a:xfrm>
              <a:off x="4776992"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0" name="Oval 919"/>
            <p:cNvSpPr>
              <a:spLocks noChangeAspect="1" noChangeArrowheads="1"/>
            </p:cNvSpPr>
            <p:nvPr userDrawn="1"/>
          </p:nvSpPr>
          <p:spPr bwMode="auto">
            <a:xfrm>
              <a:off x="4888568"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1" name="Oval 920"/>
            <p:cNvSpPr>
              <a:spLocks noChangeAspect="1" noChangeArrowheads="1"/>
            </p:cNvSpPr>
            <p:nvPr userDrawn="1"/>
          </p:nvSpPr>
          <p:spPr bwMode="auto">
            <a:xfrm>
              <a:off x="5001652"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2" name="Oval 921"/>
            <p:cNvSpPr>
              <a:spLocks noChangeAspect="1" noChangeArrowheads="1"/>
            </p:cNvSpPr>
            <p:nvPr userDrawn="1"/>
          </p:nvSpPr>
          <p:spPr bwMode="auto">
            <a:xfrm>
              <a:off x="5113228"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3" name="Oval 922"/>
            <p:cNvSpPr>
              <a:spLocks noChangeAspect="1" noChangeArrowheads="1"/>
            </p:cNvSpPr>
            <p:nvPr userDrawn="1"/>
          </p:nvSpPr>
          <p:spPr bwMode="auto">
            <a:xfrm>
              <a:off x="5337887"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4" name="Oval 923"/>
            <p:cNvSpPr>
              <a:spLocks noChangeAspect="1" noChangeArrowheads="1"/>
            </p:cNvSpPr>
            <p:nvPr userDrawn="1"/>
          </p:nvSpPr>
          <p:spPr bwMode="auto">
            <a:xfrm>
              <a:off x="5450972"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5" name="Oval 924"/>
            <p:cNvSpPr>
              <a:spLocks noChangeAspect="1" noChangeArrowheads="1"/>
            </p:cNvSpPr>
            <p:nvPr userDrawn="1"/>
          </p:nvSpPr>
          <p:spPr bwMode="auto">
            <a:xfrm>
              <a:off x="5562548"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6" name="Oval 925"/>
            <p:cNvSpPr>
              <a:spLocks noChangeAspect="1" noChangeArrowheads="1"/>
            </p:cNvSpPr>
            <p:nvPr userDrawn="1"/>
          </p:nvSpPr>
          <p:spPr bwMode="auto">
            <a:xfrm>
              <a:off x="6124951"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7" name="Oval 926"/>
            <p:cNvSpPr>
              <a:spLocks noChangeAspect="1" noChangeArrowheads="1"/>
            </p:cNvSpPr>
            <p:nvPr userDrawn="1"/>
          </p:nvSpPr>
          <p:spPr bwMode="auto">
            <a:xfrm>
              <a:off x="6238035"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8" name="Oval 927"/>
            <p:cNvSpPr>
              <a:spLocks noChangeAspect="1" noChangeArrowheads="1"/>
            </p:cNvSpPr>
            <p:nvPr userDrawn="1"/>
          </p:nvSpPr>
          <p:spPr bwMode="auto">
            <a:xfrm>
              <a:off x="6574270"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9" name="Oval 928"/>
            <p:cNvSpPr>
              <a:spLocks noChangeAspect="1" noChangeArrowheads="1"/>
            </p:cNvSpPr>
            <p:nvPr userDrawn="1"/>
          </p:nvSpPr>
          <p:spPr bwMode="auto">
            <a:xfrm>
              <a:off x="6687355"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0" name="Oval 929"/>
            <p:cNvSpPr>
              <a:spLocks noChangeAspect="1" noChangeArrowheads="1"/>
            </p:cNvSpPr>
            <p:nvPr userDrawn="1"/>
          </p:nvSpPr>
          <p:spPr bwMode="auto">
            <a:xfrm>
              <a:off x="6798931"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1" name="Oval 930"/>
            <p:cNvSpPr>
              <a:spLocks noChangeAspect="1" noChangeArrowheads="1"/>
            </p:cNvSpPr>
            <p:nvPr userDrawn="1"/>
          </p:nvSpPr>
          <p:spPr bwMode="auto">
            <a:xfrm>
              <a:off x="6912014"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2" name="Oval 931"/>
            <p:cNvSpPr>
              <a:spLocks noChangeAspect="1" noChangeArrowheads="1"/>
            </p:cNvSpPr>
            <p:nvPr userDrawn="1"/>
          </p:nvSpPr>
          <p:spPr bwMode="auto">
            <a:xfrm>
              <a:off x="7136674"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3" name="Oval 932"/>
            <p:cNvSpPr>
              <a:spLocks noChangeAspect="1" noChangeArrowheads="1"/>
            </p:cNvSpPr>
            <p:nvPr userDrawn="1"/>
          </p:nvSpPr>
          <p:spPr bwMode="auto">
            <a:xfrm>
              <a:off x="7248250" y="3526510"/>
              <a:ext cx="85943" cy="85944"/>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934" name="Oval 933"/>
            <p:cNvSpPr>
              <a:spLocks noChangeAspect="1" noChangeArrowheads="1"/>
            </p:cNvSpPr>
            <p:nvPr userDrawn="1"/>
          </p:nvSpPr>
          <p:spPr bwMode="auto">
            <a:xfrm>
              <a:off x="2192650"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5" name="Oval 934"/>
            <p:cNvSpPr>
              <a:spLocks noChangeAspect="1" noChangeArrowheads="1"/>
            </p:cNvSpPr>
            <p:nvPr userDrawn="1"/>
          </p:nvSpPr>
          <p:spPr bwMode="auto">
            <a:xfrm>
              <a:off x="2304226"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6" name="Oval 935"/>
            <p:cNvSpPr>
              <a:spLocks noChangeAspect="1" noChangeArrowheads="1"/>
            </p:cNvSpPr>
            <p:nvPr userDrawn="1"/>
          </p:nvSpPr>
          <p:spPr bwMode="auto">
            <a:xfrm>
              <a:off x="3989928"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7" name="Oval 936"/>
            <p:cNvSpPr>
              <a:spLocks noChangeAspect="1" noChangeArrowheads="1"/>
            </p:cNvSpPr>
            <p:nvPr userDrawn="1"/>
          </p:nvSpPr>
          <p:spPr bwMode="auto">
            <a:xfrm>
              <a:off x="4103013"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8" name="Oval 937"/>
            <p:cNvSpPr>
              <a:spLocks noChangeAspect="1" noChangeArrowheads="1"/>
            </p:cNvSpPr>
            <p:nvPr userDrawn="1"/>
          </p:nvSpPr>
          <p:spPr bwMode="auto">
            <a:xfrm>
              <a:off x="4214589"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9" name="Oval 938"/>
            <p:cNvSpPr>
              <a:spLocks noChangeAspect="1" noChangeArrowheads="1"/>
            </p:cNvSpPr>
            <p:nvPr userDrawn="1"/>
          </p:nvSpPr>
          <p:spPr bwMode="auto">
            <a:xfrm>
              <a:off x="4327672"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0" name="Oval 939"/>
            <p:cNvSpPr>
              <a:spLocks noChangeAspect="1" noChangeArrowheads="1"/>
            </p:cNvSpPr>
            <p:nvPr userDrawn="1"/>
          </p:nvSpPr>
          <p:spPr bwMode="auto">
            <a:xfrm>
              <a:off x="4439248"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1" name="Oval 940"/>
            <p:cNvSpPr>
              <a:spLocks noChangeAspect="1" noChangeArrowheads="1"/>
            </p:cNvSpPr>
            <p:nvPr userDrawn="1"/>
          </p:nvSpPr>
          <p:spPr bwMode="auto">
            <a:xfrm>
              <a:off x="4552332"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2" name="Oval 941"/>
            <p:cNvSpPr>
              <a:spLocks noChangeAspect="1" noChangeArrowheads="1"/>
            </p:cNvSpPr>
            <p:nvPr userDrawn="1"/>
          </p:nvSpPr>
          <p:spPr bwMode="auto">
            <a:xfrm>
              <a:off x="4663908"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3" name="Oval 942"/>
            <p:cNvSpPr>
              <a:spLocks noChangeAspect="1" noChangeArrowheads="1"/>
            </p:cNvSpPr>
            <p:nvPr userDrawn="1"/>
          </p:nvSpPr>
          <p:spPr bwMode="auto">
            <a:xfrm>
              <a:off x="4776992"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4" name="Oval 943"/>
            <p:cNvSpPr>
              <a:spLocks noChangeAspect="1" noChangeArrowheads="1"/>
            </p:cNvSpPr>
            <p:nvPr userDrawn="1"/>
          </p:nvSpPr>
          <p:spPr bwMode="auto">
            <a:xfrm>
              <a:off x="4888568"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5" name="Oval 944"/>
            <p:cNvSpPr>
              <a:spLocks noChangeAspect="1" noChangeArrowheads="1"/>
            </p:cNvSpPr>
            <p:nvPr userDrawn="1"/>
          </p:nvSpPr>
          <p:spPr bwMode="auto">
            <a:xfrm>
              <a:off x="5001652"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6" name="Oval 945"/>
            <p:cNvSpPr>
              <a:spLocks noChangeAspect="1" noChangeArrowheads="1"/>
            </p:cNvSpPr>
            <p:nvPr userDrawn="1"/>
          </p:nvSpPr>
          <p:spPr bwMode="auto">
            <a:xfrm>
              <a:off x="5113228"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7" name="Oval 946"/>
            <p:cNvSpPr>
              <a:spLocks noChangeAspect="1" noChangeArrowheads="1"/>
            </p:cNvSpPr>
            <p:nvPr userDrawn="1"/>
          </p:nvSpPr>
          <p:spPr bwMode="auto">
            <a:xfrm>
              <a:off x="5226311"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8" name="Oval 947"/>
            <p:cNvSpPr>
              <a:spLocks noChangeAspect="1" noChangeArrowheads="1"/>
            </p:cNvSpPr>
            <p:nvPr userDrawn="1"/>
          </p:nvSpPr>
          <p:spPr bwMode="auto">
            <a:xfrm>
              <a:off x="6124951"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9" name="Oval 948"/>
            <p:cNvSpPr>
              <a:spLocks noChangeAspect="1" noChangeArrowheads="1"/>
            </p:cNvSpPr>
            <p:nvPr userDrawn="1"/>
          </p:nvSpPr>
          <p:spPr bwMode="auto">
            <a:xfrm>
              <a:off x="6238035"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0" name="Oval 949"/>
            <p:cNvSpPr>
              <a:spLocks noChangeAspect="1" noChangeArrowheads="1"/>
            </p:cNvSpPr>
            <p:nvPr userDrawn="1"/>
          </p:nvSpPr>
          <p:spPr bwMode="auto">
            <a:xfrm>
              <a:off x="6687355"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1" name="Oval 950"/>
            <p:cNvSpPr>
              <a:spLocks noChangeAspect="1" noChangeArrowheads="1"/>
            </p:cNvSpPr>
            <p:nvPr userDrawn="1"/>
          </p:nvSpPr>
          <p:spPr bwMode="auto">
            <a:xfrm>
              <a:off x="6798931"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2" name="Oval 951"/>
            <p:cNvSpPr>
              <a:spLocks noChangeAspect="1" noChangeArrowheads="1"/>
            </p:cNvSpPr>
            <p:nvPr userDrawn="1"/>
          </p:nvSpPr>
          <p:spPr bwMode="auto">
            <a:xfrm>
              <a:off x="7248250"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3" name="Oval 952"/>
            <p:cNvSpPr>
              <a:spLocks noChangeAspect="1" noChangeArrowheads="1"/>
            </p:cNvSpPr>
            <p:nvPr userDrawn="1"/>
          </p:nvSpPr>
          <p:spPr bwMode="auto">
            <a:xfrm>
              <a:off x="2304226"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4" name="Oval 953"/>
            <p:cNvSpPr>
              <a:spLocks noChangeAspect="1" noChangeArrowheads="1"/>
            </p:cNvSpPr>
            <p:nvPr userDrawn="1"/>
          </p:nvSpPr>
          <p:spPr bwMode="auto">
            <a:xfrm>
              <a:off x="2417310"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5" name="Oval 954"/>
            <p:cNvSpPr>
              <a:spLocks noChangeAspect="1" noChangeArrowheads="1"/>
            </p:cNvSpPr>
            <p:nvPr userDrawn="1"/>
          </p:nvSpPr>
          <p:spPr bwMode="auto">
            <a:xfrm>
              <a:off x="2528886"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6" name="Oval 955"/>
            <p:cNvSpPr>
              <a:spLocks noChangeAspect="1" noChangeArrowheads="1"/>
            </p:cNvSpPr>
            <p:nvPr userDrawn="1"/>
          </p:nvSpPr>
          <p:spPr bwMode="auto">
            <a:xfrm>
              <a:off x="2641969"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7" name="Oval 956"/>
            <p:cNvSpPr>
              <a:spLocks noChangeAspect="1" noChangeArrowheads="1"/>
            </p:cNvSpPr>
            <p:nvPr userDrawn="1"/>
          </p:nvSpPr>
          <p:spPr bwMode="auto">
            <a:xfrm>
              <a:off x="2753545"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8" name="Oval 957"/>
            <p:cNvSpPr>
              <a:spLocks noChangeAspect="1" noChangeArrowheads="1"/>
            </p:cNvSpPr>
            <p:nvPr userDrawn="1"/>
          </p:nvSpPr>
          <p:spPr bwMode="auto">
            <a:xfrm>
              <a:off x="3989928"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9" name="Oval 958"/>
            <p:cNvSpPr>
              <a:spLocks noChangeAspect="1" noChangeArrowheads="1"/>
            </p:cNvSpPr>
            <p:nvPr userDrawn="1"/>
          </p:nvSpPr>
          <p:spPr bwMode="auto">
            <a:xfrm>
              <a:off x="4103013"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0" name="Oval 959"/>
            <p:cNvSpPr>
              <a:spLocks noChangeAspect="1" noChangeArrowheads="1"/>
            </p:cNvSpPr>
            <p:nvPr userDrawn="1"/>
          </p:nvSpPr>
          <p:spPr bwMode="auto">
            <a:xfrm>
              <a:off x="4214589"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1" name="Oval 960"/>
            <p:cNvSpPr>
              <a:spLocks noChangeAspect="1" noChangeArrowheads="1"/>
            </p:cNvSpPr>
            <p:nvPr userDrawn="1"/>
          </p:nvSpPr>
          <p:spPr bwMode="auto">
            <a:xfrm>
              <a:off x="4327672"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2" name="Oval 961"/>
            <p:cNvSpPr>
              <a:spLocks noChangeAspect="1" noChangeArrowheads="1"/>
            </p:cNvSpPr>
            <p:nvPr userDrawn="1"/>
          </p:nvSpPr>
          <p:spPr bwMode="auto">
            <a:xfrm>
              <a:off x="4439248"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3" name="Oval 962"/>
            <p:cNvSpPr>
              <a:spLocks noChangeAspect="1" noChangeArrowheads="1"/>
            </p:cNvSpPr>
            <p:nvPr userDrawn="1"/>
          </p:nvSpPr>
          <p:spPr bwMode="auto">
            <a:xfrm>
              <a:off x="4552332"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4" name="Oval 963"/>
            <p:cNvSpPr>
              <a:spLocks noChangeAspect="1" noChangeArrowheads="1"/>
            </p:cNvSpPr>
            <p:nvPr userDrawn="1"/>
          </p:nvSpPr>
          <p:spPr bwMode="auto">
            <a:xfrm>
              <a:off x="4663908"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5" name="Oval 964"/>
            <p:cNvSpPr>
              <a:spLocks noChangeAspect="1" noChangeArrowheads="1"/>
            </p:cNvSpPr>
            <p:nvPr userDrawn="1"/>
          </p:nvSpPr>
          <p:spPr bwMode="auto">
            <a:xfrm>
              <a:off x="4776992"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6" name="Oval 965"/>
            <p:cNvSpPr>
              <a:spLocks noChangeAspect="1" noChangeArrowheads="1"/>
            </p:cNvSpPr>
            <p:nvPr userDrawn="1"/>
          </p:nvSpPr>
          <p:spPr bwMode="auto">
            <a:xfrm>
              <a:off x="4888568"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7" name="Oval 966"/>
            <p:cNvSpPr>
              <a:spLocks noChangeAspect="1" noChangeArrowheads="1"/>
            </p:cNvSpPr>
            <p:nvPr userDrawn="1"/>
          </p:nvSpPr>
          <p:spPr bwMode="auto">
            <a:xfrm>
              <a:off x="5001652"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8" name="Oval 967"/>
            <p:cNvSpPr>
              <a:spLocks noChangeAspect="1" noChangeArrowheads="1"/>
            </p:cNvSpPr>
            <p:nvPr userDrawn="1"/>
          </p:nvSpPr>
          <p:spPr bwMode="auto">
            <a:xfrm>
              <a:off x="5113228"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9" name="Oval 968"/>
            <p:cNvSpPr>
              <a:spLocks noChangeAspect="1" noChangeArrowheads="1"/>
            </p:cNvSpPr>
            <p:nvPr userDrawn="1"/>
          </p:nvSpPr>
          <p:spPr bwMode="auto">
            <a:xfrm>
              <a:off x="5226311"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0" name="Oval 969"/>
            <p:cNvSpPr>
              <a:spLocks noChangeAspect="1" noChangeArrowheads="1"/>
            </p:cNvSpPr>
            <p:nvPr userDrawn="1"/>
          </p:nvSpPr>
          <p:spPr bwMode="auto">
            <a:xfrm>
              <a:off x="5337887"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1" name="Oval 970"/>
            <p:cNvSpPr>
              <a:spLocks noChangeAspect="1" noChangeArrowheads="1"/>
            </p:cNvSpPr>
            <p:nvPr userDrawn="1"/>
          </p:nvSpPr>
          <p:spPr bwMode="auto">
            <a:xfrm>
              <a:off x="5450972"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2" name="Oval 971"/>
            <p:cNvSpPr>
              <a:spLocks noChangeAspect="1" noChangeArrowheads="1"/>
            </p:cNvSpPr>
            <p:nvPr userDrawn="1"/>
          </p:nvSpPr>
          <p:spPr bwMode="auto">
            <a:xfrm>
              <a:off x="5562548"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3" name="Oval 972"/>
            <p:cNvSpPr>
              <a:spLocks noChangeAspect="1" noChangeArrowheads="1"/>
            </p:cNvSpPr>
            <p:nvPr userDrawn="1"/>
          </p:nvSpPr>
          <p:spPr bwMode="auto">
            <a:xfrm>
              <a:off x="6124951"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4" name="Oval 973"/>
            <p:cNvSpPr>
              <a:spLocks noChangeAspect="1" noChangeArrowheads="1"/>
            </p:cNvSpPr>
            <p:nvPr userDrawn="1"/>
          </p:nvSpPr>
          <p:spPr bwMode="auto">
            <a:xfrm>
              <a:off x="6687355"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5" name="Oval 974"/>
            <p:cNvSpPr>
              <a:spLocks noChangeAspect="1" noChangeArrowheads="1"/>
            </p:cNvSpPr>
            <p:nvPr userDrawn="1"/>
          </p:nvSpPr>
          <p:spPr bwMode="auto">
            <a:xfrm>
              <a:off x="6798931"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6" name="Oval 975"/>
            <p:cNvSpPr>
              <a:spLocks noChangeAspect="1" noChangeArrowheads="1"/>
            </p:cNvSpPr>
            <p:nvPr userDrawn="1"/>
          </p:nvSpPr>
          <p:spPr bwMode="auto">
            <a:xfrm>
              <a:off x="7248250"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7" name="Oval 976"/>
            <p:cNvSpPr>
              <a:spLocks noChangeAspect="1" noChangeArrowheads="1"/>
            </p:cNvSpPr>
            <p:nvPr userDrawn="1"/>
          </p:nvSpPr>
          <p:spPr bwMode="auto">
            <a:xfrm>
              <a:off x="2528886"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8" name="Oval 977"/>
            <p:cNvSpPr>
              <a:spLocks noChangeAspect="1" noChangeArrowheads="1"/>
            </p:cNvSpPr>
            <p:nvPr userDrawn="1"/>
          </p:nvSpPr>
          <p:spPr bwMode="auto">
            <a:xfrm>
              <a:off x="2641969"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9" name="Oval 978"/>
            <p:cNvSpPr>
              <a:spLocks noChangeAspect="1" noChangeArrowheads="1"/>
            </p:cNvSpPr>
            <p:nvPr userDrawn="1"/>
          </p:nvSpPr>
          <p:spPr bwMode="auto">
            <a:xfrm>
              <a:off x="2753545"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0" name="Oval 979"/>
            <p:cNvSpPr>
              <a:spLocks noChangeAspect="1" noChangeArrowheads="1"/>
            </p:cNvSpPr>
            <p:nvPr userDrawn="1"/>
          </p:nvSpPr>
          <p:spPr bwMode="auto">
            <a:xfrm>
              <a:off x="2866630"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1" name="Oval 980"/>
            <p:cNvSpPr>
              <a:spLocks noChangeAspect="1" noChangeArrowheads="1"/>
            </p:cNvSpPr>
            <p:nvPr userDrawn="1"/>
          </p:nvSpPr>
          <p:spPr bwMode="auto">
            <a:xfrm>
              <a:off x="4103013"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2" name="Oval 981"/>
            <p:cNvSpPr>
              <a:spLocks noChangeAspect="1" noChangeArrowheads="1"/>
            </p:cNvSpPr>
            <p:nvPr userDrawn="1"/>
          </p:nvSpPr>
          <p:spPr bwMode="auto">
            <a:xfrm>
              <a:off x="4214589"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3" name="Oval 982"/>
            <p:cNvSpPr>
              <a:spLocks noChangeAspect="1" noChangeArrowheads="1"/>
            </p:cNvSpPr>
            <p:nvPr userDrawn="1"/>
          </p:nvSpPr>
          <p:spPr bwMode="auto">
            <a:xfrm>
              <a:off x="4327672"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4" name="Oval 983"/>
            <p:cNvSpPr>
              <a:spLocks noChangeAspect="1" noChangeArrowheads="1"/>
            </p:cNvSpPr>
            <p:nvPr userDrawn="1"/>
          </p:nvSpPr>
          <p:spPr bwMode="auto">
            <a:xfrm>
              <a:off x="4439248"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5" name="Oval 984"/>
            <p:cNvSpPr>
              <a:spLocks noChangeAspect="1" noChangeArrowheads="1"/>
            </p:cNvSpPr>
            <p:nvPr userDrawn="1"/>
          </p:nvSpPr>
          <p:spPr bwMode="auto">
            <a:xfrm>
              <a:off x="4552332"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6" name="Oval 985"/>
            <p:cNvSpPr>
              <a:spLocks noChangeAspect="1" noChangeArrowheads="1"/>
            </p:cNvSpPr>
            <p:nvPr userDrawn="1"/>
          </p:nvSpPr>
          <p:spPr bwMode="auto">
            <a:xfrm>
              <a:off x="4663908"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7" name="Oval 986"/>
            <p:cNvSpPr>
              <a:spLocks noChangeAspect="1" noChangeArrowheads="1"/>
            </p:cNvSpPr>
            <p:nvPr userDrawn="1"/>
          </p:nvSpPr>
          <p:spPr bwMode="auto">
            <a:xfrm>
              <a:off x="4776992"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8" name="Oval 987"/>
            <p:cNvSpPr>
              <a:spLocks noChangeAspect="1" noChangeArrowheads="1"/>
            </p:cNvSpPr>
            <p:nvPr userDrawn="1"/>
          </p:nvSpPr>
          <p:spPr bwMode="auto">
            <a:xfrm>
              <a:off x="4888568"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9" name="Oval 988"/>
            <p:cNvSpPr>
              <a:spLocks noChangeAspect="1" noChangeArrowheads="1"/>
            </p:cNvSpPr>
            <p:nvPr userDrawn="1"/>
          </p:nvSpPr>
          <p:spPr bwMode="auto">
            <a:xfrm>
              <a:off x="5001652"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0" name="Oval 989"/>
            <p:cNvSpPr>
              <a:spLocks noChangeAspect="1" noChangeArrowheads="1"/>
            </p:cNvSpPr>
            <p:nvPr userDrawn="1"/>
          </p:nvSpPr>
          <p:spPr bwMode="auto">
            <a:xfrm>
              <a:off x="5113228"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1" name="Oval 990"/>
            <p:cNvSpPr>
              <a:spLocks noChangeAspect="1" noChangeArrowheads="1"/>
            </p:cNvSpPr>
            <p:nvPr userDrawn="1"/>
          </p:nvSpPr>
          <p:spPr bwMode="auto">
            <a:xfrm>
              <a:off x="5226311"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2" name="Oval 991"/>
            <p:cNvSpPr>
              <a:spLocks noChangeAspect="1" noChangeArrowheads="1"/>
            </p:cNvSpPr>
            <p:nvPr userDrawn="1"/>
          </p:nvSpPr>
          <p:spPr bwMode="auto">
            <a:xfrm>
              <a:off x="5337887"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3" name="Oval 992"/>
            <p:cNvSpPr>
              <a:spLocks noChangeAspect="1" noChangeArrowheads="1"/>
            </p:cNvSpPr>
            <p:nvPr userDrawn="1"/>
          </p:nvSpPr>
          <p:spPr bwMode="auto">
            <a:xfrm>
              <a:off x="5450972"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4" name="Oval 993"/>
            <p:cNvSpPr>
              <a:spLocks noChangeAspect="1" noChangeArrowheads="1"/>
            </p:cNvSpPr>
            <p:nvPr userDrawn="1"/>
          </p:nvSpPr>
          <p:spPr bwMode="auto">
            <a:xfrm>
              <a:off x="6238035"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5" name="Oval 994"/>
            <p:cNvSpPr>
              <a:spLocks noChangeAspect="1" noChangeArrowheads="1"/>
            </p:cNvSpPr>
            <p:nvPr userDrawn="1"/>
          </p:nvSpPr>
          <p:spPr bwMode="auto">
            <a:xfrm>
              <a:off x="6687355"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6" name="Oval 995"/>
            <p:cNvSpPr>
              <a:spLocks noChangeAspect="1" noChangeArrowheads="1"/>
            </p:cNvSpPr>
            <p:nvPr userDrawn="1"/>
          </p:nvSpPr>
          <p:spPr bwMode="auto">
            <a:xfrm>
              <a:off x="7248250"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7" name="Oval 996"/>
            <p:cNvSpPr>
              <a:spLocks noChangeAspect="1" noChangeArrowheads="1"/>
            </p:cNvSpPr>
            <p:nvPr userDrawn="1"/>
          </p:nvSpPr>
          <p:spPr bwMode="auto">
            <a:xfrm>
              <a:off x="2528886"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8" name="Oval 997"/>
            <p:cNvSpPr>
              <a:spLocks noChangeAspect="1" noChangeArrowheads="1"/>
            </p:cNvSpPr>
            <p:nvPr userDrawn="1"/>
          </p:nvSpPr>
          <p:spPr bwMode="auto">
            <a:xfrm>
              <a:off x="2641969"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9" name="Oval 998"/>
            <p:cNvSpPr>
              <a:spLocks noChangeAspect="1" noChangeArrowheads="1"/>
            </p:cNvSpPr>
            <p:nvPr userDrawn="1"/>
          </p:nvSpPr>
          <p:spPr bwMode="auto">
            <a:xfrm>
              <a:off x="2753545"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0" name="Oval 999"/>
            <p:cNvSpPr>
              <a:spLocks noChangeAspect="1" noChangeArrowheads="1"/>
            </p:cNvSpPr>
            <p:nvPr userDrawn="1"/>
          </p:nvSpPr>
          <p:spPr bwMode="auto">
            <a:xfrm>
              <a:off x="2866630"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1" name="Oval 1000"/>
            <p:cNvSpPr>
              <a:spLocks noChangeAspect="1" noChangeArrowheads="1"/>
            </p:cNvSpPr>
            <p:nvPr userDrawn="1"/>
          </p:nvSpPr>
          <p:spPr bwMode="auto">
            <a:xfrm>
              <a:off x="2978206"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2" name="Oval 1001"/>
            <p:cNvSpPr>
              <a:spLocks noChangeAspect="1" noChangeArrowheads="1"/>
            </p:cNvSpPr>
            <p:nvPr userDrawn="1"/>
          </p:nvSpPr>
          <p:spPr bwMode="auto">
            <a:xfrm>
              <a:off x="3091289"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3" name="Oval 1002"/>
            <p:cNvSpPr>
              <a:spLocks noChangeAspect="1" noChangeArrowheads="1"/>
            </p:cNvSpPr>
            <p:nvPr userDrawn="1"/>
          </p:nvSpPr>
          <p:spPr bwMode="auto">
            <a:xfrm>
              <a:off x="4552332"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4" name="Oval 1003"/>
            <p:cNvSpPr>
              <a:spLocks noChangeAspect="1" noChangeArrowheads="1"/>
            </p:cNvSpPr>
            <p:nvPr userDrawn="1"/>
          </p:nvSpPr>
          <p:spPr bwMode="auto">
            <a:xfrm>
              <a:off x="4663908"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5" name="Oval 1004"/>
            <p:cNvSpPr>
              <a:spLocks noChangeAspect="1" noChangeArrowheads="1"/>
            </p:cNvSpPr>
            <p:nvPr userDrawn="1"/>
          </p:nvSpPr>
          <p:spPr bwMode="auto">
            <a:xfrm>
              <a:off x="4776992"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6" name="Oval 1005"/>
            <p:cNvSpPr>
              <a:spLocks noChangeAspect="1" noChangeArrowheads="1"/>
            </p:cNvSpPr>
            <p:nvPr userDrawn="1"/>
          </p:nvSpPr>
          <p:spPr bwMode="auto">
            <a:xfrm>
              <a:off x="4888568"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7" name="Oval 1006"/>
            <p:cNvSpPr>
              <a:spLocks noChangeAspect="1" noChangeArrowheads="1"/>
            </p:cNvSpPr>
            <p:nvPr userDrawn="1"/>
          </p:nvSpPr>
          <p:spPr bwMode="auto">
            <a:xfrm>
              <a:off x="5001652"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8" name="Oval 1007"/>
            <p:cNvSpPr>
              <a:spLocks noChangeAspect="1" noChangeArrowheads="1"/>
            </p:cNvSpPr>
            <p:nvPr userDrawn="1"/>
          </p:nvSpPr>
          <p:spPr bwMode="auto">
            <a:xfrm>
              <a:off x="5113228"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9" name="Oval 1008"/>
            <p:cNvSpPr>
              <a:spLocks noChangeAspect="1" noChangeArrowheads="1"/>
            </p:cNvSpPr>
            <p:nvPr userDrawn="1"/>
          </p:nvSpPr>
          <p:spPr bwMode="auto">
            <a:xfrm>
              <a:off x="5226311"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0" name="Oval 1009"/>
            <p:cNvSpPr>
              <a:spLocks noChangeAspect="1" noChangeArrowheads="1"/>
            </p:cNvSpPr>
            <p:nvPr userDrawn="1"/>
          </p:nvSpPr>
          <p:spPr bwMode="auto">
            <a:xfrm>
              <a:off x="5337887"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1" name="Oval 1010"/>
            <p:cNvSpPr>
              <a:spLocks noChangeAspect="1" noChangeArrowheads="1"/>
            </p:cNvSpPr>
            <p:nvPr userDrawn="1"/>
          </p:nvSpPr>
          <p:spPr bwMode="auto">
            <a:xfrm>
              <a:off x="5450972"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2" name="Oval 1011"/>
            <p:cNvSpPr>
              <a:spLocks noChangeAspect="1" noChangeArrowheads="1"/>
            </p:cNvSpPr>
            <p:nvPr userDrawn="1"/>
          </p:nvSpPr>
          <p:spPr bwMode="auto">
            <a:xfrm>
              <a:off x="6687355"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3" name="Oval 1012"/>
            <p:cNvSpPr>
              <a:spLocks noChangeAspect="1" noChangeArrowheads="1"/>
            </p:cNvSpPr>
            <p:nvPr userDrawn="1"/>
          </p:nvSpPr>
          <p:spPr bwMode="auto">
            <a:xfrm>
              <a:off x="7023590" y="3941151"/>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1014" name="Oval 1013"/>
            <p:cNvSpPr>
              <a:spLocks noChangeAspect="1" noChangeArrowheads="1"/>
            </p:cNvSpPr>
            <p:nvPr userDrawn="1"/>
          </p:nvSpPr>
          <p:spPr bwMode="auto">
            <a:xfrm>
              <a:off x="2417310"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5" name="Oval 1014"/>
            <p:cNvSpPr>
              <a:spLocks noChangeAspect="1" noChangeArrowheads="1"/>
            </p:cNvSpPr>
            <p:nvPr userDrawn="1"/>
          </p:nvSpPr>
          <p:spPr bwMode="auto">
            <a:xfrm>
              <a:off x="2528886"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6" name="Oval 1015"/>
            <p:cNvSpPr>
              <a:spLocks noChangeAspect="1" noChangeArrowheads="1"/>
            </p:cNvSpPr>
            <p:nvPr userDrawn="1"/>
          </p:nvSpPr>
          <p:spPr bwMode="auto">
            <a:xfrm>
              <a:off x="2641969"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7" name="Oval 1016"/>
            <p:cNvSpPr>
              <a:spLocks noChangeAspect="1" noChangeArrowheads="1"/>
            </p:cNvSpPr>
            <p:nvPr userDrawn="1"/>
          </p:nvSpPr>
          <p:spPr bwMode="auto">
            <a:xfrm>
              <a:off x="2753545"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8" name="Oval 1017"/>
            <p:cNvSpPr>
              <a:spLocks noChangeAspect="1" noChangeArrowheads="1"/>
            </p:cNvSpPr>
            <p:nvPr userDrawn="1"/>
          </p:nvSpPr>
          <p:spPr bwMode="auto">
            <a:xfrm>
              <a:off x="2866630"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9" name="Oval 1018"/>
            <p:cNvSpPr>
              <a:spLocks noChangeAspect="1" noChangeArrowheads="1"/>
            </p:cNvSpPr>
            <p:nvPr userDrawn="1"/>
          </p:nvSpPr>
          <p:spPr bwMode="auto">
            <a:xfrm>
              <a:off x="2978206"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0" name="Oval 1019"/>
            <p:cNvSpPr>
              <a:spLocks noChangeAspect="1" noChangeArrowheads="1"/>
            </p:cNvSpPr>
            <p:nvPr userDrawn="1"/>
          </p:nvSpPr>
          <p:spPr bwMode="auto">
            <a:xfrm>
              <a:off x="3091289"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1" name="Oval 1020"/>
            <p:cNvSpPr>
              <a:spLocks noChangeAspect="1" noChangeArrowheads="1"/>
            </p:cNvSpPr>
            <p:nvPr userDrawn="1"/>
          </p:nvSpPr>
          <p:spPr bwMode="auto">
            <a:xfrm>
              <a:off x="3204373"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2" name="Oval 1021"/>
            <p:cNvSpPr>
              <a:spLocks noChangeAspect="1" noChangeArrowheads="1"/>
            </p:cNvSpPr>
            <p:nvPr userDrawn="1"/>
          </p:nvSpPr>
          <p:spPr bwMode="auto">
            <a:xfrm>
              <a:off x="4552332"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3" name="Oval 1022"/>
            <p:cNvSpPr>
              <a:spLocks noChangeAspect="1" noChangeArrowheads="1"/>
            </p:cNvSpPr>
            <p:nvPr userDrawn="1"/>
          </p:nvSpPr>
          <p:spPr bwMode="auto">
            <a:xfrm>
              <a:off x="4663908"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4" name="Oval 1023"/>
            <p:cNvSpPr>
              <a:spLocks noChangeAspect="1" noChangeArrowheads="1"/>
            </p:cNvSpPr>
            <p:nvPr userDrawn="1"/>
          </p:nvSpPr>
          <p:spPr bwMode="auto">
            <a:xfrm>
              <a:off x="4776992"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5" name="Oval 1024"/>
            <p:cNvSpPr>
              <a:spLocks noChangeAspect="1" noChangeArrowheads="1"/>
            </p:cNvSpPr>
            <p:nvPr userDrawn="1"/>
          </p:nvSpPr>
          <p:spPr bwMode="auto">
            <a:xfrm>
              <a:off x="4888568"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6" name="Oval 1025"/>
            <p:cNvSpPr>
              <a:spLocks noChangeAspect="1" noChangeArrowheads="1"/>
            </p:cNvSpPr>
            <p:nvPr userDrawn="1"/>
          </p:nvSpPr>
          <p:spPr bwMode="auto">
            <a:xfrm>
              <a:off x="5001652"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7" name="Oval 1026"/>
            <p:cNvSpPr>
              <a:spLocks noChangeAspect="1" noChangeArrowheads="1"/>
            </p:cNvSpPr>
            <p:nvPr userDrawn="1"/>
          </p:nvSpPr>
          <p:spPr bwMode="auto">
            <a:xfrm>
              <a:off x="5113228"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8" name="Oval 1027"/>
            <p:cNvSpPr>
              <a:spLocks noChangeAspect="1" noChangeArrowheads="1"/>
            </p:cNvSpPr>
            <p:nvPr userDrawn="1"/>
          </p:nvSpPr>
          <p:spPr bwMode="auto">
            <a:xfrm>
              <a:off x="5226311"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9" name="Oval 1028"/>
            <p:cNvSpPr>
              <a:spLocks noChangeAspect="1" noChangeArrowheads="1"/>
            </p:cNvSpPr>
            <p:nvPr userDrawn="1"/>
          </p:nvSpPr>
          <p:spPr bwMode="auto">
            <a:xfrm>
              <a:off x="5337887"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0" name="Oval 1029"/>
            <p:cNvSpPr>
              <a:spLocks noChangeAspect="1" noChangeArrowheads="1"/>
            </p:cNvSpPr>
            <p:nvPr userDrawn="1"/>
          </p:nvSpPr>
          <p:spPr bwMode="auto">
            <a:xfrm>
              <a:off x="6687355"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1" name="Oval 1030"/>
            <p:cNvSpPr>
              <a:spLocks noChangeAspect="1" noChangeArrowheads="1"/>
            </p:cNvSpPr>
            <p:nvPr userDrawn="1"/>
          </p:nvSpPr>
          <p:spPr bwMode="auto">
            <a:xfrm>
              <a:off x="6912014"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2" name="Oval 1031"/>
            <p:cNvSpPr>
              <a:spLocks noChangeAspect="1" noChangeArrowheads="1"/>
            </p:cNvSpPr>
            <p:nvPr userDrawn="1"/>
          </p:nvSpPr>
          <p:spPr bwMode="auto">
            <a:xfrm>
              <a:off x="7023590"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3" name="Oval 1032"/>
            <p:cNvSpPr>
              <a:spLocks noChangeAspect="1" noChangeArrowheads="1"/>
            </p:cNvSpPr>
            <p:nvPr userDrawn="1"/>
          </p:nvSpPr>
          <p:spPr bwMode="auto">
            <a:xfrm>
              <a:off x="7136674"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4" name="Oval 1033"/>
            <p:cNvSpPr>
              <a:spLocks noChangeAspect="1" noChangeArrowheads="1"/>
            </p:cNvSpPr>
            <p:nvPr userDrawn="1"/>
          </p:nvSpPr>
          <p:spPr bwMode="auto">
            <a:xfrm>
              <a:off x="2417310"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5" name="Oval 1034"/>
            <p:cNvSpPr>
              <a:spLocks noChangeAspect="1" noChangeArrowheads="1"/>
            </p:cNvSpPr>
            <p:nvPr userDrawn="1"/>
          </p:nvSpPr>
          <p:spPr bwMode="auto">
            <a:xfrm>
              <a:off x="2528886"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6" name="Oval 1035"/>
            <p:cNvSpPr>
              <a:spLocks noChangeAspect="1" noChangeArrowheads="1"/>
            </p:cNvSpPr>
            <p:nvPr userDrawn="1"/>
          </p:nvSpPr>
          <p:spPr bwMode="auto">
            <a:xfrm>
              <a:off x="2641969"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7" name="Oval 1036"/>
            <p:cNvSpPr>
              <a:spLocks noChangeAspect="1" noChangeArrowheads="1"/>
            </p:cNvSpPr>
            <p:nvPr userDrawn="1"/>
          </p:nvSpPr>
          <p:spPr bwMode="auto">
            <a:xfrm>
              <a:off x="2753545"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8" name="Oval 1037"/>
            <p:cNvSpPr>
              <a:spLocks noChangeAspect="1" noChangeArrowheads="1"/>
            </p:cNvSpPr>
            <p:nvPr userDrawn="1"/>
          </p:nvSpPr>
          <p:spPr bwMode="auto">
            <a:xfrm>
              <a:off x="2866630"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9" name="Oval 1038"/>
            <p:cNvSpPr>
              <a:spLocks noChangeAspect="1" noChangeArrowheads="1"/>
            </p:cNvSpPr>
            <p:nvPr userDrawn="1"/>
          </p:nvSpPr>
          <p:spPr bwMode="auto">
            <a:xfrm>
              <a:off x="2978206"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0" name="Oval 1039"/>
            <p:cNvSpPr>
              <a:spLocks noChangeAspect="1" noChangeArrowheads="1"/>
            </p:cNvSpPr>
            <p:nvPr userDrawn="1"/>
          </p:nvSpPr>
          <p:spPr bwMode="auto">
            <a:xfrm>
              <a:off x="3091289"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1" name="Oval 1040"/>
            <p:cNvSpPr>
              <a:spLocks noChangeAspect="1" noChangeArrowheads="1"/>
            </p:cNvSpPr>
            <p:nvPr userDrawn="1"/>
          </p:nvSpPr>
          <p:spPr bwMode="auto">
            <a:xfrm>
              <a:off x="3204373"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2" name="Oval 1041"/>
            <p:cNvSpPr>
              <a:spLocks noChangeAspect="1" noChangeArrowheads="1"/>
            </p:cNvSpPr>
            <p:nvPr userDrawn="1"/>
          </p:nvSpPr>
          <p:spPr bwMode="auto">
            <a:xfrm>
              <a:off x="3315949"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3" name="Oval 1042"/>
            <p:cNvSpPr>
              <a:spLocks noChangeAspect="1" noChangeArrowheads="1"/>
            </p:cNvSpPr>
            <p:nvPr userDrawn="1"/>
          </p:nvSpPr>
          <p:spPr bwMode="auto">
            <a:xfrm>
              <a:off x="3429033"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4" name="Oval 1043"/>
            <p:cNvSpPr>
              <a:spLocks noChangeAspect="1" noChangeArrowheads="1"/>
            </p:cNvSpPr>
            <p:nvPr userDrawn="1"/>
          </p:nvSpPr>
          <p:spPr bwMode="auto">
            <a:xfrm>
              <a:off x="4663908"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5" name="Oval 1044"/>
            <p:cNvSpPr>
              <a:spLocks noChangeAspect="1" noChangeArrowheads="1"/>
            </p:cNvSpPr>
            <p:nvPr userDrawn="1"/>
          </p:nvSpPr>
          <p:spPr bwMode="auto">
            <a:xfrm>
              <a:off x="4776992"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6" name="Oval 1045"/>
            <p:cNvSpPr>
              <a:spLocks noChangeAspect="1" noChangeArrowheads="1"/>
            </p:cNvSpPr>
            <p:nvPr userDrawn="1"/>
          </p:nvSpPr>
          <p:spPr bwMode="auto">
            <a:xfrm>
              <a:off x="4888568"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7" name="Oval 1046"/>
            <p:cNvSpPr>
              <a:spLocks noChangeAspect="1" noChangeArrowheads="1"/>
            </p:cNvSpPr>
            <p:nvPr userDrawn="1"/>
          </p:nvSpPr>
          <p:spPr bwMode="auto">
            <a:xfrm>
              <a:off x="5001652"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8" name="Oval 1047"/>
            <p:cNvSpPr>
              <a:spLocks noChangeAspect="1" noChangeArrowheads="1"/>
            </p:cNvSpPr>
            <p:nvPr userDrawn="1"/>
          </p:nvSpPr>
          <p:spPr bwMode="auto">
            <a:xfrm>
              <a:off x="5113228"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9" name="Oval 1048"/>
            <p:cNvSpPr>
              <a:spLocks noChangeAspect="1" noChangeArrowheads="1"/>
            </p:cNvSpPr>
            <p:nvPr userDrawn="1"/>
          </p:nvSpPr>
          <p:spPr bwMode="auto">
            <a:xfrm>
              <a:off x="5226311"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0" name="Oval 1049"/>
            <p:cNvSpPr>
              <a:spLocks noChangeAspect="1" noChangeArrowheads="1"/>
            </p:cNvSpPr>
            <p:nvPr userDrawn="1"/>
          </p:nvSpPr>
          <p:spPr bwMode="auto">
            <a:xfrm>
              <a:off x="6798931"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1" name="Oval 1050"/>
            <p:cNvSpPr>
              <a:spLocks noChangeAspect="1" noChangeArrowheads="1"/>
            </p:cNvSpPr>
            <p:nvPr userDrawn="1"/>
          </p:nvSpPr>
          <p:spPr bwMode="auto">
            <a:xfrm>
              <a:off x="7136674"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2" name="Oval 1051"/>
            <p:cNvSpPr>
              <a:spLocks noChangeAspect="1" noChangeArrowheads="1"/>
            </p:cNvSpPr>
            <p:nvPr userDrawn="1"/>
          </p:nvSpPr>
          <p:spPr bwMode="auto">
            <a:xfrm>
              <a:off x="7472910"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3" name="Oval 1052"/>
            <p:cNvSpPr>
              <a:spLocks noChangeAspect="1" noChangeArrowheads="1"/>
            </p:cNvSpPr>
            <p:nvPr userDrawn="1"/>
          </p:nvSpPr>
          <p:spPr bwMode="auto">
            <a:xfrm>
              <a:off x="7585994"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4" name="Oval 1053"/>
            <p:cNvSpPr>
              <a:spLocks noChangeAspect="1" noChangeArrowheads="1"/>
            </p:cNvSpPr>
            <p:nvPr userDrawn="1"/>
          </p:nvSpPr>
          <p:spPr bwMode="auto">
            <a:xfrm>
              <a:off x="7697570"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5" name="Oval 1054"/>
            <p:cNvSpPr>
              <a:spLocks noChangeAspect="1" noChangeArrowheads="1"/>
            </p:cNvSpPr>
            <p:nvPr userDrawn="1"/>
          </p:nvSpPr>
          <p:spPr bwMode="auto">
            <a:xfrm>
              <a:off x="2528886"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6" name="Oval 1055"/>
            <p:cNvSpPr>
              <a:spLocks noChangeAspect="1" noChangeArrowheads="1"/>
            </p:cNvSpPr>
            <p:nvPr userDrawn="1"/>
          </p:nvSpPr>
          <p:spPr bwMode="auto">
            <a:xfrm>
              <a:off x="2641969"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7" name="Oval 1056"/>
            <p:cNvSpPr>
              <a:spLocks noChangeAspect="1" noChangeArrowheads="1"/>
            </p:cNvSpPr>
            <p:nvPr userDrawn="1"/>
          </p:nvSpPr>
          <p:spPr bwMode="auto">
            <a:xfrm>
              <a:off x="2753545"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8" name="Oval 1057"/>
            <p:cNvSpPr>
              <a:spLocks noChangeAspect="1" noChangeArrowheads="1"/>
            </p:cNvSpPr>
            <p:nvPr userDrawn="1"/>
          </p:nvSpPr>
          <p:spPr bwMode="auto">
            <a:xfrm>
              <a:off x="2866630"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9" name="Oval 1058"/>
            <p:cNvSpPr>
              <a:spLocks noChangeAspect="1" noChangeArrowheads="1"/>
            </p:cNvSpPr>
            <p:nvPr userDrawn="1"/>
          </p:nvSpPr>
          <p:spPr bwMode="auto">
            <a:xfrm>
              <a:off x="2978206"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0" name="Oval 1059"/>
            <p:cNvSpPr>
              <a:spLocks noChangeAspect="1" noChangeArrowheads="1"/>
            </p:cNvSpPr>
            <p:nvPr userDrawn="1"/>
          </p:nvSpPr>
          <p:spPr bwMode="auto">
            <a:xfrm>
              <a:off x="3091289"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1" name="Oval 1060"/>
            <p:cNvSpPr>
              <a:spLocks noChangeAspect="1" noChangeArrowheads="1"/>
            </p:cNvSpPr>
            <p:nvPr userDrawn="1"/>
          </p:nvSpPr>
          <p:spPr bwMode="auto">
            <a:xfrm>
              <a:off x="3204373"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2" name="Oval 1061"/>
            <p:cNvSpPr>
              <a:spLocks noChangeAspect="1" noChangeArrowheads="1"/>
            </p:cNvSpPr>
            <p:nvPr userDrawn="1"/>
          </p:nvSpPr>
          <p:spPr bwMode="auto">
            <a:xfrm>
              <a:off x="3315949"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3" name="Oval 1062"/>
            <p:cNvSpPr>
              <a:spLocks noChangeAspect="1" noChangeArrowheads="1"/>
            </p:cNvSpPr>
            <p:nvPr userDrawn="1"/>
          </p:nvSpPr>
          <p:spPr bwMode="auto">
            <a:xfrm>
              <a:off x="3429033"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4" name="Oval 1063"/>
            <p:cNvSpPr>
              <a:spLocks noChangeAspect="1" noChangeArrowheads="1"/>
            </p:cNvSpPr>
            <p:nvPr userDrawn="1"/>
          </p:nvSpPr>
          <p:spPr bwMode="auto">
            <a:xfrm>
              <a:off x="4663908"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5" name="Oval 1064"/>
            <p:cNvSpPr>
              <a:spLocks noChangeAspect="1" noChangeArrowheads="1"/>
            </p:cNvSpPr>
            <p:nvPr userDrawn="1"/>
          </p:nvSpPr>
          <p:spPr bwMode="auto">
            <a:xfrm>
              <a:off x="4776992"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6" name="Oval 1065"/>
            <p:cNvSpPr>
              <a:spLocks noChangeAspect="1" noChangeArrowheads="1"/>
            </p:cNvSpPr>
            <p:nvPr userDrawn="1"/>
          </p:nvSpPr>
          <p:spPr bwMode="auto">
            <a:xfrm>
              <a:off x="4888568"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7" name="Oval 1066"/>
            <p:cNvSpPr>
              <a:spLocks noChangeAspect="1" noChangeArrowheads="1"/>
            </p:cNvSpPr>
            <p:nvPr userDrawn="1"/>
          </p:nvSpPr>
          <p:spPr bwMode="auto">
            <a:xfrm>
              <a:off x="5001652"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8" name="Oval 1067"/>
            <p:cNvSpPr>
              <a:spLocks noChangeAspect="1" noChangeArrowheads="1"/>
            </p:cNvSpPr>
            <p:nvPr userDrawn="1"/>
          </p:nvSpPr>
          <p:spPr bwMode="auto">
            <a:xfrm>
              <a:off x="5113228"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9" name="Oval 1068"/>
            <p:cNvSpPr>
              <a:spLocks noChangeAspect="1" noChangeArrowheads="1"/>
            </p:cNvSpPr>
            <p:nvPr userDrawn="1"/>
          </p:nvSpPr>
          <p:spPr bwMode="auto">
            <a:xfrm>
              <a:off x="5226311"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0" name="Oval 1069"/>
            <p:cNvSpPr>
              <a:spLocks noChangeAspect="1" noChangeArrowheads="1"/>
            </p:cNvSpPr>
            <p:nvPr userDrawn="1"/>
          </p:nvSpPr>
          <p:spPr bwMode="auto">
            <a:xfrm>
              <a:off x="6912014"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1" name="Oval 1070"/>
            <p:cNvSpPr>
              <a:spLocks noChangeAspect="1" noChangeArrowheads="1"/>
            </p:cNvSpPr>
            <p:nvPr userDrawn="1"/>
          </p:nvSpPr>
          <p:spPr bwMode="auto">
            <a:xfrm>
              <a:off x="7023590"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2" name="Oval 1071"/>
            <p:cNvSpPr>
              <a:spLocks noChangeAspect="1" noChangeArrowheads="1"/>
            </p:cNvSpPr>
            <p:nvPr userDrawn="1"/>
          </p:nvSpPr>
          <p:spPr bwMode="auto">
            <a:xfrm>
              <a:off x="7697570" y="4253262"/>
              <a:ext cx="85943" cy="85944"/>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1073" name="Oval 1072"/>
            <p:cNvSpPr>
              <a:spLocks noChangeAspect="1" noChangeArrowheads="1"/>
            </p:cNvSpPr>
            <p:nvPr userDrawn="1"/>
          </p:nvSpPr>
          <p:spPr bwMode="auto">
            <a:xfrm>
              <a:off x="2528886"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4" name="Oval 1073"/>
            <p:cNvSpPr>
              <a:spLocks noChangeAspect="1" noChangeArrowheads="1"/>
            </p:cNvSpPr>
            <p:nvPr userDrawn="1"/>
          </p:nvSpPr>
          <p:spPr bwMode="auto">
            <a:xfrm>
              <a:off x="2641969"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5" name="Oval 1074"/>
            <p:cNvSpPr>
              <a:spLocks noChangeAspect="1" noChangeArrowheads="1"/>
            </p:cNvSpPr>
            <p:nvPr userDrawn="1"/>
          </p:nvSpPr>
          <p:spPr bwMode="auto">
            <a:xfrm>
              <a:off x="2753545"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6" name="Oval 1075"/>
            <p:cNvSpPr>
              <a:spLocks noChangeAspect="1" noChangeArrowheads="1"/>
            </p:cNvSpPr>
            <p:nvPr userDrawn="1"/>
          </p:nvSpPr>
          <p:spPr bwMode="auto">
            <a:xfrm>
              <a:off x="2866630"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7" name="Oval 1076"/>
            <p:cNvSpPr>
              <a:spLocks noChangeAspect="1" noChangeArrowheads="1"/>
            </p:cNvSpPr>
            <p:nvPr userDrawn="1"/>
          </p:nvSpPr>
          <p:spPr bwMode="auto">
            <a:xfrm>
              <a:off x="2978206"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8" name="Oval 1077"/>
            <p:cNvSpPr>
              <a:spLocks noChangeAspect="1" noChangeArrowheads="1"/>
            </p:cNvSpPr>
            <p:nvPr userDrawn="1"/>
          </p:nvSpPr>
          <p:spPr bwMode="auto">
            <a:xfrm>
              <a:off x="3091289"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9" name="Oval 1078"/>
            <p:cNvSpPr>
              <a:spLocks noChangeAspect="1" noChangeArrowheads="1"/>
            </p:cNvSpPr>
            <p:nvPr userDrawn="1"/>
          </p:nvSpPr>
          <p:spPr bwMode="auto">
            <a:xfrm>
              <a:off x="3204373"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0" name="Oval 1079"/>
            <p:cNvSpPr>
              <a:spLocks noChangeAspect="1" noChangeArrowheads="1"/>
            </p:cNvSpPr>
            <p:nvPr userDrawn="1"/>
          </p:nvSpPr>
          <p:spPr bwMode="auto">
            <a:xfrm>
              <a:off x="3315949"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1" name="Oval 1080"/>
            <p:cNvSpPr>
              <a:spLocks noChangeAspect="1" noChangeArrowheads="1"/>
            </p:cNvSpPr>
            <p:nvPr userDrawn="1"/>
          </p:nvSpPr>
          <p:spPr bwMode="auto">
            <a:xfrm>
              <a:off x="3429033"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2" name="Oval 1081"/>
            <p:cNvSpPr>
              <a:spLocks noChangeAspect="1" noChangeArrowheads="1"/>
            </p:cNvSpPr>
            <p:nvPr userDrawn="1"/>
          </p:nvSpPr>
          <p:spPr bwMode="auto">
            <a:xfrm>
              <a:off x="4663908"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3" name="Oval 1082"/>
            <p:cNvSpPr>
              <a:spLocks noChangeAspect="1" noChangeArrowheads="1"/>
            </p:cNvSpPr>
            <p:nvPr userDrawn="1"/>
          </p:nvSpPr>
          <p:spPr bwMode="auto">
            <a:xfrm>
              <a:off x="4776992"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4" name="Oval 1083"/>
            <p:cNvSpPr>
              <a:spLocks noChangeAspect="1" noChangeArrowheads="1"/>
            </p:cNvSpPr>
            <p:nvPr userDrawn="1"/>
          </p:nvSpPr>
          <p:spPr bwMode="auto">
            <a:xfrm>
              <a:off x="4888568"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5" name="Oval 1084"/>
            <p:cNvSpPr>
              <a:spLocks noChangeAspect="1" noChangeArrowheads="1"/>
            </p:cNvSpPr>
            <p:nvPr userDrawn="1"/>
          </p:nvSpPr>
          <p:spPr bwMode="auto">
            <a:xfrm>
              <a:off x="5001652"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6" name="Oval 1085"/>
            <p:cNvSpPr>
              <a:spLocks noChangeAspect="1" noChangeArrowheads="1"/>
            </p:cNvSpPr>
            <p:nvPr userDrawn="1"/>
          </p:nvSpPr>
          <p:spPr bwMode="auto">
            <a:xfrm>
              <a:off x="5113228"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7" name="Oval 1086"/>
            <p:cNvSpPr>
              <a:spLocks noChangeAspect="1" noChangeArrowheads="1"/>
            </p:cNvSpPr>
            <p:nvPr userDrawn="1"/>
          </p:nvSpPr>
          <p:spPr bwMode="auto">
            <a:xfrm>
              <a:off x="5226311"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8" name="Oval 1087"/>
            <p:cNvSpPr>
              <a:spLocks noChangeAspect="1" noChangeArrowheads="1"/>
            </p:cNvSpPr>
            <p:nvPr userDrawn="1"/>
          </p:nvSpPr>
          <p:spPr bwMode="auto">
            <a:xfrm>
              <a:off x="7472910"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9" name="Oval 1088"/>
            <p:cNvSpPr>
              <a:spLocks noChangeAspect="1" noChangeArrowheads="1"/>
            </p:cNvSpPr>
            <p:nvPr userDrawn="1"/>
          </p:nvSpPr>
          <p:spPr bwMode="auto">
            <a:xfrm>
              <a:off x="2641969"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0" name="Oval 1089"/>
            <p:cNvSpPr>
              <a:spLocks noChangeAspect="1" noChangeArrowheads="1"/>
            </p:cNvSpPr>
            <p:nvPr userDrawn="1"/>
          </p:nvSpPr>
          <p:spPr bwMode="auto">
            <a:xfrm>
              <a:off x="2753545"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1" name="Oval 1090"/>
            <p:cNvSpPr>
              <a:spLocks noChangeAspect="1" noChangeArrowheads="1"/>
            </p:cNvSpPr>
            <p:nvPr userDrawn="1"/>
          </p:nvSpPr>
          <p:spPr bwMode="auto">
            <a:xfrm>
              <a:off x="2866630"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2" name="Oval 1091"/>
            <p:cNvSpPr>
              <a:spLocks noChangeAspect="1" noChangeArrowheads="1"/>
            </p:cNvSpPr>
            <p:nvPr userDrawn="1"/>
          </p:nvSpPr>
          <p:spPr bwMode="auto">
            <a:xfrm>
              <a:off x="2978206"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3" name="Oval 1092"/>
            <p:cNvSpPr>
              <a:spLocks noChangeAspect="1" noChangeArrowheads="1"/>
            </p:cNvSpPr>
            <p:nvPr userDrawn="1"/>
          </p:nvSpPr>
          <p:spPr bwMode="auto">
            <a:xfrm>
              <a:off x="3091289"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4" name="Oval 1093"/>
            <p:cNvSpPr>
              <a:spLocks noChangeAspect="1" noChangeArrowheads="1"/>
            </p:cNvSpPr>
            <p:nvPr userDrawn="1"/>
          </p:nvSpPr>
          <p:spPr bwMode="auto">
            <a:xfrm>
              <a:off x="3204373"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5" name="Oval 1094"/>
            <p:cNvSpPr>
              <a:spLocks noChangeAspect="1" noChangeArrowheads="1"/>
            </p:cNvSpPr>
            <p:nvPr userDrawn="1"/>
          </p:nvSpPr>
          <p:spPr bwMode="auto">
            <a:xfrm>
              <a:off x="3315949"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6" name="Oval 1095"/>
            <p:cNvSpPr>
              <a:spLocks noChangeAspect="1" noChangeArrowheads="1"/>
            </p:cNvSpPr>
            <p:nvPr userDrawn="1"/>
          </p:nvSpPr>
          <p:spPr bwMode="auto">
            <a:xfrm>
              <a:off x="4663908"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7" name="Oval 1096"/>
            <p:cNvSpPr>
              <a:spLocks noChangeAspect="1" noChangeArrowheads="1"/>
            </p:cNvSpPr>
            <p:nvPr userDrawn="1"/>
          </p:nvSpPr>
          <p:spPr bwMode="auto">
            <a:xfrm>
              <a:off x="4776992"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8" name="Oval 1097"/>
            <p:cNvSpPr>
              <a:spLocks noChangeAspect="1" noChangeArrowheads="1"/>
            </p:cNvSpPr>
            <p:nvPr userDrawn="1"/>
          </p:nvSpPr>
          <p:spPr bwMode="auto">
            <a:xfrm>
              <a:off x="4888568"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9" name="Oval 1098"/>
            <p:cNvSpPr>
              <a:spLocks noChangeAspect="1" noChangeArrowheads="1"/>
            </p:cNvSpPr>
            <p:nvPr userDrawn="1"/>
          </p:nvSpPr>
          <p:spPr bwMode="auto">
            <a:xfrm>
              <a:off x="5001652"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0" name="Oval 1099"/>
            <p:cNvSpPr>
              <a:spLocks noChangeAspect="1" noChangeArrowheads="1"/>
            </p:cNvSpPr>
            <p:nvPr userDrawn="1"/>
          </p:nvSpPr>
          <p:spPr bwMode="auto">
            <a:xfrm>
              <a:off x="5113228"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1" name="Oval 1100"/>
            <p:cNvSpPr>
              <a:spLocks noChangeAspect="1" noChangeArrowheads="1"/>
            </p:cNvSpPr>
            <p:nvPr userDrawn="1"/>
          </p:nvSpPr>
          <p:spPr bwMode="auto">
            <a:xfrm>
              <a:off x="5226311"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2" name="Oval 1101"/>
            <p:cNvSpPr>
              <a:spLocks noChangeAspect="1" noChangeArrowheads="1"/>
            </p:cNvSpPr>
            <p:nvPr userDrawn="1"/>
          </p:nvSpPr>
          <p:spPr bwMode="auto">
            <a:xfrm>
              <a:off x="5450972"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3" name="Oval 1102"/>
            <p:cNvSpPr>
              <a:spLocks noChangeAspect="1" noChangeArrowheads="1"/>
            </p:cNvSpPr>
            <p:nvPr userDrawn="1"/>
          </p:nvSpPr>
          <p:spPr bwMode="auto">
            <a:xfrm>
              <a:off x="7361334"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4" name="Oval 1103"/>
            <p:cNvSpPr>
              <a:spLocks noChangeAspect="1" noChangeArrowheads="1"/>
            </p:cNvSpPr>
            <p:nvPr userDrawn="1"/>
          </p:nvSpPr>
          <p:spPr bwMode="auto">
            <a:xfrm>
              <a:off x="7472910"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5" name="Oval 1104"/>
            <p:cNvSpPr>
              <a:spLocks noChangeAspect="1" noChangeArrowheads="1"/>
            </p:cNvSpPr>
            <p:nvPr userDrawn="1"/>
          </p:nvSpPr>
          <p:spPr bwMode="auto">
            <a:xfrm>
              <a:off x="7697570"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6" name="Oval 1105"/>
            <p:cNvSpPr>
              <a:spLocks noChangeAspect="1" noChangeArrowheads="1"/>
            </p:cNvSpPr>
            <p:nvPr userDrawn="1"/>
          </p:nvSpPr>
          <p:spPr bwMode="auto">
            <a:xfrm>
              <a:off x="2753545"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7" name="Oval 1106"/>
            <p:cNvSpPr>
              <a:spLocks noChangeAspect="1" noChangeArrowheads="1"/>
            </p:cNvSpPr>
            <p:nvPr userDrawn="1"/>
          </p:nvSpPr>
          <p:spPr bwMode="auto">
            <a:xfrm>
              <a:off x="2866630"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8" name="Oval 1107"/>
            <p:cNvSpPr>
              <a:spLocks noChangeAspect="1" noChangeArrowheads="1"/>
            </p:cNvSpPr>
            <p:nvPr userDrawn="1"/>
          </p:nvSpPr>
          <p:spPr bwMode="auto">
            <a:xfrm>
              <a:off x="2978206"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9" name="Oval 1108"/>
            <p:cNvSpPr>
              <a:spLocks noChangeAspect="1" noChangeArrowheads="1"/>
            </p:cNvSpPr>
            <p:nvPr userDrawn="1"/>
          </p:nvSpPr>
          <p:spPr bwMode="auto">
            <a:xfrm>
              <a:off x="3091289"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0" name="Oval 1109"/>
            <p:cNvSpPr>
              <a:spLocks noChangeAspect="1" noChangeArrowheads="1"/>
            </p:cNvSpPr>
            <p:nvPr userDrawn="1"/>
          </p:nvSpPr>
          <p:spPr bwMode="auto">
            <a:xfrm>
              <a:off x="3204373"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1" name="Oval 1110"/>
            <p:cNvSpPr>
              <a:spLocks noChangeAspect="1" noChangeArrowheads="1"/>
            </p:cNvSpPr>
            <p:nvPr userDrawn="1"/>
          </p:nvSpPr>
          <p:spPr bwMode="auto">
            <a:xfrm>
              <a:off x="3315949"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2" name="Oval 1111"/>
            <p:cNvSpPr>
              <a:spLocks noChangeAspect="1" noChangeArrowheads="1"/>
            </p:cNvSpPr>
            <p:nvPr userDrawn="1"/>
          </p:nvSpPr>
          <p:spPr bwMode="auto">
            <a:xfrm>
              <a:off x="4663908"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3" name="Oval 1112"/>
            <p:cNvSpPr>
              <a:spLocks noChangeAspect="1" noChangeArrowheads="1"/>
            </p:cNvSpPr>
            <p:nvPr userDrawn="1"/>
          </p:nvSpPr>
          <p:spPr bwMode="auto">
            <a:xfrm>
              <a:off x="4776992"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4" name="Oval 1113"/>
            <p:cNvSpPr>
              <a:spLocks noChangeAspect="1" noChangeArrowheads="1"/>
            </p:cNvSpPr>
            <p:nvPr userDrawn="1"/>
          </p:nvSpPr>
          <p:spPr bwMode="auto">
            <a:xfrm>
              <a:off x="4888568"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5" name="Oval 1114"/>
            <p:cNvSpPr>
              <a:spLocks noChangeAspect="1" noChangeArrowheads="1"/>
            </p:cNvSpPr>
            <p:nvPr userDrawn="1"/>
          </p:nvSpPr>
          <p:spPr bwMode="auto">
            <a:xfrm>
              <a:off x="5001652"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6" name="Oval 1115"/>
            <p:cNvSpPr>
              <a:spLocks noChangeAspect="1" noChangeArrowheads="1"/>
            </p:cNvSpPr>
            <p:nvPr userDrawn="1"/>
          </p:nvSpPr>
          <p:spPr bwMode="auto">
            <a:xfrm>
              <a:off x="5113228"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7" name="Oval 1116"/>
            <p:cNvSpPr>
              <a:spLocks noChangeAspect="1" noChangeArrowheads="1"/>
            </p:cNvSpPr>
            <p:nvPr userDrawn="1"/>
          </p:nvSpPr>
          <p:spPr bwMode="auto">
            <a:xfrm>
              <a:off x="5226311"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8" name="Oval 1117"/>
            <p:cNvSpPr>
              <a:spLocks noChangeAspect="1" noChangeArrowheads="1"/>
            </p:cNvSpPr>
            <p:nvPr userDrawn="1"/>
          </p:nvSpPr>
          <p:spPr bwMode="auto">
            <a:xfrm>
              <a:off x="5450972"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9" name="Oval 1118"/>
            <p:cNvSpPr>
              <a:spLocks noChangeAspect="1" noChangeArrowheads="1"/>
            </p:cNvSpPr>
            <p:nvPr userDrawn="1"/>
          </p:nvSpPr>
          <p:spPr bwMode="auto">
            <a:xfrm>
              <a:off x="7248250"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0" name="Oval 1119"/>
            <p:cNvSpPr>
              <a:spLocks noChangeAspect="1" noChangeArrowheads="1"/>
            </p:cNvSpPr>
            <p:nvPr userDrawn="1"/>
          </p:nvSpPr>
          <p:spPr bwMode="auto">
            <a:xfrm>
              <a:off x="7361334"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1" name="Oval 1120"/>
            <p:cNvSpPr>
              <a:spLocks noChangeAspect="1" noChangeArrowheads="1"/>
            </p:cNvSpPr>
            <p:nvPr userDrawn="1"/>
          </p:nvSpPr>
          <p:spPr bwMode="auto">
            <a:xfrm>
              <a:off x="7472910"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2" name="Oval 1121"/>
            <p:cNvSpPr>
              <a:spLocks noChangeAspect="1" noChangeArrowheads="1"/>
            </p:cNvSpPr>
            <p:nvPr userDrawn="1"/>
          </p:nvSpPr>
          <p:spPr bwMode="auto">
            <a:xfrm>
              <a:off x="7585994"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3" name="Oval 1122"/>
            <p:cNvSpPr>
              <a:spLocks noChangeAspect="1" noChangeArrowheads="1"/>
            </p:cNvSpPr>
            <p:nvPr userDrawn="1"/>
          </p:nvSpPr>
          <p:spPr bwMode="auto">
            <a:xfrm>
              <a:off x="7697570"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4" name="Oval 1123"/>
            <p:cNvSpPr>
              <a:spLocks noChangeAspect="1" noChangeArrowheads="1"/>
            </p:cNvSpPr>
            <p:nvPr userDrawn="1"/>
          </p:nvSpPr>
          <p:spPr bwMode="auto">
            <a:xfrm>
              <a:off x="2753545"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5" name="Oval 1124"/>
            <p:cNvSpPr>
              <a:spLocks noChangeAspect="1" noChangeArrowheads="1"/>
            </p:cNvSpPr>
            <p:nvPr userDrawn="1"/>
          </p:nvSpPr>
          <p:spPr bwMode="auto">
            <a:xfrm>
              <a:off x="2866630"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6" name="Oval 1125"/>
            <p:cNvSpPr>
              <a:spLocks noChangeAspect="1" noChangeArrowheads="1"/>
            </p:cNvSpPr>
            <p:nvPr userDrawn="1"/>
          </p:nvSpPr>
          <p:spPr bwMode="auto">
            <a:xfrm>
              <a:off x="2978206"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7" name="Oval 1126"/>
            <p:cNvSpPr>
              <a:spLocks noChangeAspect="1" noChangeArrowheads="1"/>
            </p:cNvSpPr>
            <p:nvPr userDrawn="1"/>
          </p:nvSpPr>
          <p:spPr bwMode="auto">
            <a:xfrm>
              <a:off x="3091289"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8" name="Oval 1127"/>
            <p:cNvSpPr>
              <a:spLocks noChangeAspect="1" noChangeArrowheads="1"/>
            </p:cNvSpPr>
            <p:nvPr userDrawn="1"/>
          </p:nvSpPr>
          <p:spPr bwMode="auto">
            <a:xfrm>
              <a:off x="3204373"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9" name="Oval 1128"/>
            <p:cNvSpPr>
              <a:spLocks noChangeAspect="1" noChangeArrowheads="1"/>
            </p:cNvSpPr>
            <p:nvPr userDrawn="1"/>
          </p:nvSpPr>
          <p:spPr bwMode="auto">
            <a:xfrm>
              <a:off x="3315949"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0" name="Oval 1129"/>
            <p:cNvSpPr>
              <a:spLocks noChangeAspect="1" noChangeArrowheads="1"/>
            </p:cNvSpPr>
            <p:nvPr userDrawn="1"/>
          </p:nvSpPr>
          <p:spPr bwMode="auto">
            <a:xfrm>
              <a:off x="4663908"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1" name="Oval 1130"/>
            <p:cNvSpPr>
              <a:spLocks noChangeAspect="1" noChangeArrowheads="1"/>
            </p:cNvSpPr>
            <p:nvPr userDrawn="1"/>
          </p:nvSpPr>
          <p:spPr bwMode="auto">
            <a:xfrm>
              <a:off x="4776992"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2" name="Oval 1131"/>
            <p:cNvSpPr>
              <a:spLocks noChangeAspect="1" noChangeArrowheads="1"/>
            </p:cNvSpPr>
            <p:nvPr userDrawn="1"/>
          </p:nvSpPr>
          <p:spPr bwMode="auto">
            <a:xfrm>
              <a:off x="4888568"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3" name="Oval 1132"/>
            <p:cNvSpPr>
              <a:spLocks noChangeAspect="1" noChangeArrowheads="1"/>
            </p:cNvSpPr>
            <p:nvPr userDrawn="1"/>
          </p:nvSpPr>
          <p:spPr bwMode="auto">
            <a:xfrm>
              <a:off x="5001652"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4" name="Oval 1133"/>
            <p:cNvSpPr>
              <a:spLocks noChangeAspect="1" noChangeArrowheads="1"/>
            </p:cNvSpPr>
            <p:nvPr userDrawn="1"/>
          </p:nvSpPr>
          <p:spPr bwMode="auto">
            <a:xfrm>
              <a:off x="5113228"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5" name="Oval 1134"/>
            <p:cNvSpPr>
              <a:spLocks noChangeAspect="1" noChangeArrowheads="1"/>
            </p:cNvSpPr>
            <p:nvPr userDrawn="1"/>
          </p:nvSpPr>
          <p:spPr bwMode="auto">
            <a:xfrm>
              <a:off x="5450972"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6" name="Oval 1135"/>
            <p:cNvSpPr>
              <a:spLocks noChangeAspect="1" noChangeArrowheads="1"/>
            </p:cNvSpPr>
            <p:nvPr userDrawn="1"/>
          </p:nvSpPr>
          <p:spPr bwMode="auto">
            <a:xfrm>
              <a:off x="7136674"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7" name="Oval 1136"/>
            <p:cNvSpPr>
              <a:spLocks noChangeAspect="1" noChangeArrowheads="1"/>
            </p:cNvSpPr>
            <p:nvPr userDrawn="1"/>
          </p:nvSpPr>
          <p:spPr bwMode="auto">
            <a:xfrm>
              <a:off x="7248250"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8" name="Oval 1137"/>
            <p:cNvSpPr>
              <a:spLocks noChangeAspect="1" noChangeArrowheads="1"/>
            </p:cNvSpPr>
            <p:nvPr userDrawn="1"/>
          </p:nvSpPr>
          <p:spPr bwMode="auto">
            <a:xfrm>
              <a:off x="7361334"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9" name="Oval 1138"/>
            <p:cNvSpPr>
              <a:spLocks noChangeAspect="1" noChangeArrowheads="1"/>
            </p:cNvSpPr>
            <p:nvPr userDrawn="1"/>
          </p:nvSpPr>
          <p:spPr bwMode="auto">
            <a:xfrm>
              <a:off x="7472910"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0" name="Oval 1139"/>
            <p:cNvSpPr>
              <a:spLocks noChangeAspect="1" noChangeArrowheads="1"/>
            </p:cNvSpPr>
            <p:nvPr userDrawn="1"/>
          </p:nvSpPr>
          <p:spPr bwMode="auto">
            <a:xfrm>
              <a:off x="7585994"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1" name="Oval 1140"/>
            <p:cNvSpPr>
              <a:spLocks noChangeAspect="1" noChangeArrowheads="1"/>
            </p:cNvSpPr>
            <p:nvPr userDrawn="1"/>
          </p:nvSpPr>
          <p:spPr bwMode="auto">
            <a:xfrm>
              <a:off x="7697570"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2" name="Oval 1141"/>
            <p:cNvSpPr>
              <a:spLocks noChangeAspect="1" noChangeArrowheads="1"/>
            </p:cNvSpPr>
            <p:nvPr userDrawn="1"/>
          </p:nvSpPr>
          <p:spPr bwMode="auto">
            <a:xfrm>
              <a:off x="7810653"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3" name="Oval 1142"/>
            <p:cNvSpPr>
              <a:spLocks noChangeAspect="1" noChangeArrowheads="1"/>
            </p:cNvSpPr>
            <p:nvPr userDrawn="1"/>
          </p:nvSpPr>
          <p:spPr bwMode="auto">
            <a:xfrm>
              <a:off x="2641969"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4" name="Oval 1143"/>
            <p:cNvSpPr>
              <a:spLocks noChangeAspect="1" noChangeArrowheads="1"/>
            </p:cNvSpPr>
            <p:nvPr userDrawn="1"/>
          </p:nvSpPr>
          <p:spPr bwMode="auto">
            <a:xfrm>
              <a:off x="2753545"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5" name="Oval 1144"/>
            <p:cNvSpPr>
              <a:spLocks noChangeAspect="1" noChangeArrowheads="1"/>
            </p:cNvSpPr>
            <p:nvPr userDrawn="1"/>
          </p:nvSpPr>
          <p:spPr bwMode="auto">
            <a:xfrm>
              <a:off x="2866630"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6" name="Oval 1145"/>
            <p:cNvSpPr>
              <a:spLocks noChangeAspect="1" noChangeArrowheads="1"/>
            </p:cNvSpPr>
            <p:nvPr userDrawn="1"/>
          </p:nvSpPr>
          <p:spPr bwMode="auto">
            <a:xfrm>
              <a:off x="2978206"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7" name="Oval 1146"/>
            <p:cNvSpPr>
              <a:spLocks noChangeAspect="1" noChangeArrowheads="1"/>
            </p:cNvSpPr>
            <p:nvPr userDrawn="1"/>
          </p:nvSpPr>
          <p:spPr bwMode="auto">
            <a:xfrm>
              <a:off x="3091289"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8" name="Oval 1147"/>
            <p:cNvSpPr>
              <a:spLocks noChangeAspect="1" noChangeArrowheads="1"/>
            </p:cNvSpPr>
            <p:nvPr userDrawn="1"/>
          </p:nvSpPr>
          <p:spPr bwMode="auto">
            <a:xfrm>
              <a:off x="3204373"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9" name="Oval 1148"/>
            <p:cNvSpPr>
              <a:spLocks noChangeAspect="1" noChangeArrowheads="1"/>
            </p:cNvSpPr>
            <p:nvPr userDrawn="1"/>
          </p:nvSpPr>
          <p:spPr bwMode="auto">
            <a:xfrm>
              <a:off x="4663908"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0" name="Oval 1149"/>
            <p:cNvSpPr>
              <a:spLocks noChangeAspect="1" noChangeArrowheads="1"/>
            </p:cNvSpPr>
            <p:nvPr userDrawn="1"/>
          </p:nvSpPr>
          <p:spPr bwMode="auto">
            <a:xfrm>
              <a:off x="4776992"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1" name="Oval 1150"/>
            <p:cNvSpPr>
              <a:spLocks noChangeAspect="1" noChangeArrowheads="1"/>
            </p:cNvSpPr>
            <p:nvPr userDrawn="1"/>
          </p:nvSpPr>
          <p:spPr bwMode="auto">
            <a:xfrm>
              <a:off x="4888568"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2" name="Oval 1151"/>
            <p:cNvSpPr>
              <a:spLocks noChangeAspect="1" noChangeArrowheads="1"/>
            </p:cNvSpPr>
            <p:nvPr userDrawn="1"/>
          </p:nvSpPr>
          <p:spPr bwMode="auto">
            <a:xfrm>
              <a:off x="5001652"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3" name="Oval 1152"/>
            <p:cNvSpPr>
              <a:spLocks noChangeAspect="1" noChangeArrowheads="1"/>
            </p:cNvSpPr>
            <p:nvPr userDrawn="1"/>
          </p:nvSpPr>
          <p:spPr bwMode="auto">
            <a:xfrm>
              <a:off x="5113228"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4" name="Oval 1153"/>
            <p:cNvSpPr>
              <a:spLocks noChangeAspect="1" noChangeArrowheads="1"/>
            </p:cNvSpPr>
            <p:nvPr userDrawn="1"/>
          </p:nvSpPr>
          <p:spPr bwMode="auto">
            <a:xfrm>
              <a:off x="5450972"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5" name="Oval 1154"/>
            <p:cNvSpPr>
              <a:spLocks noChangeAspect="1" noChangeArrowheads="1"/>
            </p:cNvSpPr>
            <p:nvPr userDrawn="1"/>
          </p:nvSpPr>
          <p:spPr bwMode="auto">
            <a:xfrm>
              <a:off x="7023590"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6" name="Oval 1155"/>
            <p:cNvSpPr>
              <a:spLocks noChangeAspect="1" noChangeArrowheads="1"/>
            </p:cNvSpPr>
            <p:nvPr userDrawn="1"/>
          </p:nvSpPr>
          <p:spPr bwMode="auto">
            <a:xfrm>
              <a:off x="7136674"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7" name="Oval 1156"/>
            <p:cNvSpPr>
              <a:spLocks noChangeAspect="1" noChangeArrowheads="1"/>
            </p:cNvSpPr>
            <p:nvPr userDrawn="1"/>
          </p:nvSpPr>
          <p:spPr bwMode="auto">
            <a:xfrm>
              <a:off x="7248250"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8" name="Oval 1157"/>
            <p:cNvSpPr>
              <a:spLocks noChangeAspect="1" noChangeArrowheads="1"/>
            </p:cNvSpPr>
            <p:nvPr userDrawn="1"/>
          </p:nvSpPr>
          <p:spPr bwMode="auto">
            <a:xfrm>
              <a:off x="7361334"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9" name="Oval 1158"/>
            <p:cNvSpPr>
              <a:spLocks noChangeAspect="1" noChangeArrowheads="1"/>
            </p:cNvSpPr>
            <p:nvPr userDrawn="1"/>
          </p:nvSpPr>
          <p:spPr bwMode="auto">
            <a:xfrm>
              <a:off x="7472910"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0" name="Oval 1159"/>
            <p:cNvSpPr>
              <a:spLocks noChangeAspect="1" noChangeArrowheads="1"/>
            </p:cNvSpPr>
            <p:nvPr userDrawn="1"/>
          </p:nvSpPr>
          <p:spPr bwMode="auto">
            <a:xfrm>
              <a:off x="7585994"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1" name="Oval 1160"/>
            <p:cNvSpPr>
              <a:spLocks noChangeAspect="1" noChangeArrowheads="1"/>
            </p:cNvSpPr>
            <p:nvPr userDrawn="1"/>
          </p:nvSpPr>
          <p:spPr bwMode="auto">
            <a:xfrm>
              <a:off x="7697570"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2" name="Oval 1161"/>
            <p:cNvSpPr>
              <a:spLocks noChangeAspect="1" noChangeArrowheads="1"/>
            </p:cNvSpPr>
            <p:nvPr userDrawn="1"/>
          </p:nvSpPr>
          <p:spPr bwMode="auto">
            <a:xfrm>
              <a:off x="7810653"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3" name="Oval 1162"/>
            <p:cNvSpPr>
              <a:spLocks noChangeAspect="1" noChangeArrowheads="1"/>
            </p:cNvSpPr>
            <p:nvPr userDrawn="1"/>
          </p:nvSpPr>
          <p:spPr bwMode="auto">
            <a:xfrm>
              <a:off x="7922229"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4" name="Oval 1163"/>
            <p:cNvSpPr>
              <a:spLocks noChangeAspect="1" noChangeArrowheads="1"/>
            </p:cNvSpPr>
            <p:nvPr userDrawn="1"/>
          </p:nvSpPr>
          <p:spPr bwMode="auto">
            <a:xfrm>
              <a:off x="2641969"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5" name="Oval 1164"/>
            <p:cNvSpPr>
              <a:spLocks noChangeAspect="1" noChangeArrowheads="1"/>
            </p:cNvSpPr>
            <p:nvPr userDrawn="1"/>
          </p:nvSpPr>
          <p:spPr bwMode="auto">
            <a:xfrm>
              <a:off x="2753545"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6" name="Oval 1165"/>
            <p:cNvSpPr>
              <a:spLocks noChangeAspect="1" noChangeArrowheads="1"/>
            </p:cNvSpPr>
            <p:nvPr userDrawn="1"/>
          </p:nvSpPr>
          <p:spPr bwMode="auto">
            <a:xfrm>
              <a:off x="2866630"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7" name="Oval 1166"/>
            <p:cNvSpPr>
              <a:spLocks noChangeAspect="1" noChangeArrowheads="1"/>
            </p:cNvSpPr>
            <p:nvPr userDrawn="1"/>
          </p:nvSpPr>
          <p:spPr bwMode="auto">
            <a:xfrm>
              <a:off x="2978206"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8" name="Oval 1167"/>
            <p:cNvSpPr>
              <a:spLocks noChangeAspect="1" noChangeArrowheads="1"/>
            </p:cNvSpPr>
            <p:nvPr userDrawn="1"/>
          </p:nvSpPr>
          <p:spPr bwMode="auto">
            <a:xfrm>
              <a:off x="3091289"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9" name="Oval 1168"/>
            <p:cNvSpPr>
              <a:spLocks noChangeAspect="1" noChangeArrowheads="1"/>
            </p:cNvSpPr>
            <p:nvPr userDrawn="1"/>
          </p:nvSpPr>
          <p:spPr bwMode="auto">
            <a:xfrm>
              <a:off x="4663908"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0" name="Oval 1169"/>
            <p:cNvSpPr>
              <a:spLocks noChangeAspect="1" noChangeArrowheads="1"/>
            </p:cNvSpPr>
            <p:nvPr userDrawn="1"/>
          </p:nvSpPr>
          <p:spPr bwMode="auto">
            <a:xfrm>
              <a:off x="4776992"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1" name="Oval 1170"/>
            <p:cNvSpPr>
              <a:spLocks noChangeAspect="1" noChangeArrowheads="1"/>
            </p:cNvSpPr>
            <p:nvPr userDrawn="1"/>
          </p:nvSpPr>
          <p:spPr bwMode="auto">
            <a:xfrm>
              <a:off x="4888568"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2" name="Oval 1171"/>
            <p:cNvSpPr>
              <a:spLocks noChangeAspect="1" noChangeArrowheads="1"/>
            </p:cNvSpPr>
            <p:nvPr userDrawn="1"/>
          </p:nvSpPr>
          <p:spPr bwMode="auto">
            <a:xfrm>
              <a:off x="5001652"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3" name="Oval 1172"/>
            <p:cNvSpPr>
              <a:spLocks noChangeAspect="1" noChangeArrowheads="1"/>
            </p:cNvSpPr>
            <p:nvPr userDrawn="1"/>
          </p:nvSpPr>
          <p:spPr bwMode="auto">
            <a:xfrm>
              <a:off x="7023590"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4" name="Oval 1173"/>
            <p:cNvSpPr>
              <a:spLocks noChangeAspect="1" noChangeArrowheads="1"/>
            </p:cNvSpPr>
            <p:nvPr userDrawn="1"/>
          </p:nvSpPr>
          <p:spPr bwMode="auto">
            <a:xfrm>
              <a:off x="7136674"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5" name="Oval 1174"/>
            <p:cNvSpPr>
              <a:spLocks noChangeAspect="1" noChangeArrowheads="1"/>
            </p:cNvSpPr>
            <p:nvPr userDrawn="1"/>
          </p:nvSpPr>
          <p:spPr bwMode="auto">
            <a:xfrm>
              <a:off x="7248250"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6" name="Oval 1175"/>
            <p:cNvSpPr>
              <a:spLocks noChangeAspect="1" noChangeArrowheads="1"/>
            </p:cNvSpPr>
            <p:nvPr userDrawn="1"/>
          </p:nvSpPr>
          <p:spPr bwMode="auto">
            <a:xfrm>
              <a:off x="7361334"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7" name="Oval 1176"/>
            <p:cNvSpPr>
              <a:spLocks noChangeAspect="1" noChangeArrowheads="1"/>
            </p:cNvSpPr>
            <p:nvPr userDrawn="1"/>
          </p:nvSpPr>
          <p:spPr bwMode="auto">
            <a:xfrm>
              <a:off x="7472910"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8" name="Oval 1177"/>
            <p:cNvSpPr>
              <a:spLocks noChangeAspect="1" noChangeArrowheads="1"/>
            </p:cNvSpPr>
            <p:nvPr userDrawn="1"/>
          </p:nvSpPr>
          <p:spPr bwMode="auto">
            <a:xfrm>
              <a:off x="7585994"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9" name="Oval 1178"/>
            <p:cNvSpPr>
              <a:spLocks noChangeAspect="1" noChangeArrowheads="1"/>
            </p:cNvSpPr>
            <p:nvPr userDrawn="1"/>
          </p:nvSpPr>
          <p:spPr bwMode="auto">
            <a:xfrm>
              <a:off x="7697570"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0" name="Oval 1179"/>
            <p:cNvSpPr>
              <a:spLocks noChangeAspect="1" noChangeArrowheads="1"/>
            </p:cNvSpPr>
            <p:nvPr userDrawn="1"/>
          </p:nvSpPr>
          <p:spPr bwMode="auto">
            <a:xfrm>
              <a:off x="7810653"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1" name="Oval 1180"/>
            <p:cNvSpPr>
              <a:spLocks noChangeAspect="1" noChangeArrowheads="1"/>
            </p:cNvSpPr>
            <p:nvPr userDrawn="1"/>
          </p:nvSpPr>
          <p:spPr bwMode="auto">
            <a:xfrm>
              <a:off x="7922229" y="4875977"/>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1182" name="Oval 1181"/>
            <p:cNvSpPr>
              <a:spLocks noChangeAspect="1" noChangeArrowheads="1"/>
            </p:cNvSpPr>
            <p:nvPr userDrawn="1"/>
          </p:nvSpPr>
          <p:spPr bwMode="auto">
            <a:xfrm>
              <a:off x="2641969"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3" name="Oval 1182"/>
            <p:cNvSpPr>
              <a:spLocks noChangeAspect="1" noChangeArrowheads="1"/>
            </p:cNvSpPr>
            <p:nvPr userDrawn="1"/>
          </p:nvSpPr>
          <p:spPr bwMode="auto">
            <a:xfrm>
              <a:off x="2753545"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4" name="Oval 1183"/>
            <p:cNvSpPr>
              <a:spLocks noChangeAspect="1" noChangeArrowheads="1"/>
            </p:cNvSpPr>
            <p:nvPr userDrawn="1"/>
          </p:nvSpPr>
          <p:spPr bwMode="auto">
            <a:xfrm>
              <a:off x="2866630"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5" name="Oval 1184"/>
            <p:cNvSpPr>
              <a:spLocks noChangeAspect="1" noChangeArrowheads="1"/>
            </p:cNvSpPr>
            <p:nvPr userDrawn="1"/>
          </p:nvSpPr>
          <p:spPr bwMode="auto">
            <a:xfrm>
              <a:off x="2978206"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6" name="Oval 1185"/>
            <p:cNvSpPr>
              <a:spLocks noChangeAspect="1" noChangeArrowheads="1"/>
            </p:cNvSpPr>
            <p:nvPr userDrawn="1"/>
          </p:nvSpPr>
          <p:spPr bwMode="auto">
            <a:xfrm>
              <a:off x="3091289"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7" name="Oval 1186"/>
            <p:cNvSpPr>
              <a:spLocks noChangeAspect="1" noChangeArrowheads="1"/>
            </p:cNvSpPr>
            <p:nvPr userDrawn="1"/>
          </p:nvSpPr>
          <p:spPr bwMode="auto">
            <a:xfrm>
              <a:off x="4776992"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8" name="Oval 1187"/>
            <p:cNvSpPr>
              <a:spLocks noChangeAspect="1" noChangeArrowheads="1"/>
            </p:cNvSpPr>
            <p:nvPr userDrawn="1"/>
          </p:nvSpPr>
          <p:spPr bwMode="auto">
            <a:xfrm>
              <a:off x="4888568"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9" name="Oval 1188"/>
            <p:cNvSpPr>
              <a:spLocks noChangeAspect="1" noChangeArrowheads="1"/>
            </p:cNvSpPr>
            <p:nvPr userDrawn="1"/>
          </p:nvSpPr>
          <p:spPr bwMode="auto">
            <a:xfrm>
              <a:off x="5001652"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0" name="Oval 1189"/>
            <p:cNvSpPr>
              <a:spLocks noChangeAspect="1" noChangeArrowheads="1"/>
            </p:cNvSpPr>
            <p:nvPr userDrawn="1"/>
          </p:nvSpPr>
          <p:spPr bwMode="auto">
            <a:xfrm>
              <a:off x="7023590"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1" name="Oval 1190"/>
            <p:cNvSpPr>
              <a:spLocks noChangeAspect="1" noChangeArrowheads="1"/>
            </p:cNvSpPr>
            <p:nvPr userDrawn="1"/>
          </p:nvSpPr>
          <p:spPr bwMode="auto">
            <a:xfrm>
              <a:off x="7136674"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2" name="Oval 1191"/>
            <p:cNvSpPr>
              <a:spLocks noChangeAspect="1" noChangeArrowheads="1"/>
            </p:cNvSpPr>
            <p:nvPr userDrawn="1"/>
          </p:nvSpPr>
          <p:spPr bwMode="auto">
            <a:xfrm>
              <a:off x="7472910"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3" name="Oval 1192"/>
            <p:cNvSpPr>
              <a:spLocks noChangeAspect="1" noChangeArrowheads="1"/>
            </p:cNvSpPr>
            <p:nvPr userDrawn="1"/>
          </p:nvSpPr>
          <p:spPr bwMode="auto">
            <a:xfrm>
              <a:off x="7585994"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4" name="Oval 1193"/>
            <p:cNvSpPr>
              <a:spLocks noChangeAspect="1" noChangeArrowheads="1"/>
            </p:cNvSpPr>
            <p:nvPr userDrawn="1"/>
          </p:nvSpPr>
          <p:spPr bwMode="auto">
            <a:xfrm>
              <a:off x="7697570"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5" name="Oval 1194"/>
            <p:cNvSpPr>
              <a:spLocks noChangeAspect="1" noChangeArrowheads="1"/>
            </p:cNvSpPr>
            <p:nvPr userDrawn="1"/>
          </p:nvSpPr>
          <p:spPr bwMode="auto">
            <a:xfrm>
              <a:off x="7810653"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6" name="Oval 1195"/>
            <p:cNvSpPr>
              <a:spLocks noChangeAspect="1" noChangeArrowheads="1"/>
            </p:cNvSpPr>
            <p:nvPr userDrawn="1"/>
          </p:nvSpPr>
          <p:spPr bwMode="auto">
            <a:xfrm>
              <a:off x="2641969" y="5082543"/>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7" name="Oval 1196"/>
            <p:cNvSpPr>
              <a:spLocks noChangeAspect="1" noChangeArrowheads="1"/>
            </p:cNvSpPr>
            <p:nvPr userDrawn="1"/>
          </p:nvSpPr>
          <p:spPr bwMode="auto">
            <a:xfrm>
              <a:off x="2753545" y="5082543"/>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8" name="Oval 1197"/>
            <p:cNvSpPr>
              <a:spLocks noChangeAspect="1" noChangeArrowheads="1"/>
            </p:cNvSpPr>
            <p:nvPr userDrawn="1"/>
          </p:nvSpPr>
          <p:spPr bwMode="auto">
            <a:xfrm>
              <a:off x="2866630"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9" name="Oval 1198"/>
            <p:cNvSpPr>
              <a:spLocks noChangeAspect="1" noChangeArrowheads="1"/>
            </p:cNvSpPr>
            <p:nvPr userDrawn="1"/>
          </p:nvSpPr>
          <p:spPr bwMode="auto">
            <a:xfrm>
              <a:off x="2978206"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0" name="Oval 1199"/>
            <p:cNvSpPr>
              <a:spLocks noChangeAspect="1" noChangeArrowheads="1"/>
            </p:cNvSpPr>
            <p:nvPr userDrawn="1"/>
          </p:nvSpPr>
          <p:spPr bwMode="auto">
            <a:xfrm>
              <a:off x="4776992" y="5082543"/>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1" name="Oval 1200"/>
            <p:cNvSpPr>
              <a:spLocks noChangeAspect="1" noChangeArrowheads="1"/>
            </p:cNvSpPr>
            <p:nvPr userDrawn="1"/>
          </p:nvSpPr>
          <p:spPr bwMode="auto">
            <a:xfrm>
              <a:off x="7585994"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2" name="Oval 1201"/>
            <p:cNvSpPr>
              <a:spLocks noChangeAspect="1" noChangeArrowheads="1"/>
            </p:cNvSpPr>
            <p:nvPr userDrawn="1"/>
          </p:nvSpPr>
          <p:spPr bwMode="auto">
            <a:xfrm>
              <a:off x="7697570"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3" name="Oval 1202"/>
            <p:cNvSpPr>
              <a:spLocks noChangeAspect="1" noChangeArrowheads="1"/>
            </p:cNvSpPr>
            <p:nvPr userDrawn="1"/>
          </p:nvSpPr>
          <p:spPr bwMode="auto">
            <a:xfrm>
              <a:off x="7810653" y="5082543"/>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4" name="Oval 1203"/>
            <p:cNvSpPr>
              <a:spLocks noChangeAspect="1" noChangeArrowheads="1"/>
            </p:cNvSpPr>
            <p:nvPr userDrawn="1"/>
          </p:nvSpPr>
          <p:spPr bwMode="auto">
            <a:xfrm>
              <a:off x="8484633"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5" name="Oval 1204"/>
            <p:cNvSpPr>
              <a:spLocks noChangeAspect="1" noChangeArrowheads="1"/>
            </p:cNvSpPr>
            <p:nvPr userDrawn="1"/>
          </p:nvSpPr>
          <p:spPr bwMode="auto">
            <a:xfrm>
              <a:off x="2641969" y="518658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6" name="Oval 1205"/>
            <p:cNvSpPr>
              <a:spLocks noChangeAspect="1" noChangeArrowheads="1"/>
            </p:cNvSpPr>
            <p:nvPr userDrawn="1"/>
          </p:nvSpPr>
          <p:spPr bwMode="auto">
            <a:xfrm>
              <a:off x="2753545" y="518658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7" name="Oval 1206"/>
            <p:cNvSpPr>
              <a:spLocks noChangeAspect="1" noChangeArrowheads="1"/>
            </p:cNvSpPr>
            <p:nvPr userDrawn="1"/>
          </p:nvSpPr>
          <p:spPr bwMode="auto">
            <a:xfrm>
              <a:off x="2866630" y="518658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8" name="Oval 1207"/>
            <p:cNvSpPr>
              <a:spLocks noChangeAspect="1" noChangeArrowheads="1"/>
            </p:cNvSpPr>
            <p:nvPr userDrawn="1"/>
          </p:nvSpPr>
          <p:spPr bwMode="auto">
            <a:xfrm>
              <a:off x="7697570" y="518658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9" name="Oval 1208"/>
            <p:cNvSpPr>
              <a:spLocks noChangeAspect="1" noChangeArrowheads="1"/>
            </p:cNvSpPr>
            <p:nvPr userDrawn="1"/>
          </p:nvSpPr>
          <p:spPr bwMode="auto">
            <a:xfrm>
              <a:off x="7810653" y="518658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0" name="Oval 1209"/>
            <p:cNvSpPr>
              <a:spLocks noChangeAspect="1" noChangeArrowheads="1"/>
            </p:cNvSpPr>
            <p:nvPr userDrawn="1"/>
          </p:nvSpPr>
          <p:spPr bwMode="auto">
            <a:xfrm>
              <a:off x="8484633" y="518658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1" name="Oval 1210"/>
            <p:cNvSpPr>
              <a:spLocks noChangeAspect="1" noChangeArrowheads="1"/>
            </p:cNvSpPr>
            <p:nvPr userDrawn="1"/>
          </p:nvSpPr>
          <p:spPr bwMode="auto">
            <a:xfrm>
              <a:off x="2641969" y="529061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2" name="Oval 1211"/>
            <p:cNvSpPr>
              <a:spLocks noChangeAspect="1" noChangeArrowheads="1"/>
            </p:cNvSpPr>
            <p:nvPr userDrawn="1"/>
          </p:nvSpPr>
          <p:spPr bwMode="auto">
            <a:xfrm>
              <a:off x="2753545" y="529061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3" name="Oval 1212"/>
            <p:cNvSpPr>
              <a:spLocks noChangeAspect="1" noChangeArrowheads="1"/>
            </p:cNvSpPr>
            <p:nvPr userDrawn="1"/>
          </p:nvSpPr>
          <p:spPr bwMode="auto">
            <a:xfrm>
              <a:off x="7810653" y="529061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4" name="Oval 1213"/>
            <p:cNvSpPr>
              <a:spLocks noChangeAspect="1" noChangeArrowheads="1"/>
            </p:cNvSpPr>
            <p:nvPr userDrawn="1"/>
          </p:nvSpPr>
          <p:spPr bwMode="auto">
            <a:xfrm>
              <a:off x="8371549" y="529061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5" name="Oval 1214"/>
            <p:cNvSpPr>
              <a:spLocks noChangeAspect="1" noChangeArrowheads="1"/>
            </p:cNvSpPr>
            <p:nvPr userDrawn="1"/>
          </p:nvSpPr>
          <p:spPr bwMode="auto">
            <a:xfrm>
              <a:off x="2641969" y="539465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6" name="Oval 1215"/>
            <p:cNvSpPr>
              <a:spLocks noChangeAspect="1" noChangeArrowheads="1"/>
            </p:cNvSpPr>
            <p:nvPr userDrawn="1"/>
          </p:nvSpPr>
          <p:spPr bwMode="auto">
            <a:xfrm>
              <a:off x="2753545" y="539465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7" name="Oval 1216"/>
            <p:cNvSpPr>
              <a:spLocks noChangeAspect="1" noChangeArrowheads="1"/>
            </p:cNvSpPr>
            <p:nvPr userDrawn="1"/>
          </p:nvSpPr>
          <p:spPr bwMode="auto">
            <a:xfrm>
              <a:off x="8259973" y="539465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8" name="Oval 1217"/>
            <p:cNvSpPr>
              <a:spLocks noChangeAspect="1" noChangeArrowheads="1"/>
            </p:cNvSpPr>
            <p:nvPr userDrawn="1"/>
          </p:nvSpPr>
          <p:spPr bwMode="auto">
            <a:xfrm>
              <a:off x="2641969" y="549718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9" name="Oval 1218"/>
            <p:cNvSpPr>
              <a:spLocks noChangeAspect="1" noChangeArrowheads="1"/>
            </p:cNvSpPr>
            <p:nvPr userDrawn="1"/>
          </p:nvSpPr>
          <p:spPr bwMode="auto">
            <a:xfrm>
              <a:off x="2753545" y="549718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0" name="Oval 1219"/>
            <p:cNvSpPr>
              <a:spLocks noChangeAspect="1" noChangeArrowheads="1"/>
            </p:cNvSpPr>
            <p:nvPr userDrawn="1"/>
          </p:nvSpPr>
          <p:spPr bwMode="auto">
            <a:xfrm>
              <a:off x="2641969" y="560122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1" name="Oval 1220"/>
            <p:cNvSpPr>
              <a:spLocks noChangeAspect="1" noChangeArrowheads="1"/>
            </p:cNvSpPr>
            <p:nvPr userDrawn="1"/>
          </p:nvSpPr>
          <p:spPr bwMode="auto">
            <a:xfrm>
              <a:off x="2641969" y="570525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2" name="Oval 1221"/>
            <p:cNvSpPr>
              <a:spLocks noChangeAspect="1" noChangeArrowheads="1"/>
            </p:cNvSpPr>
            <p:nvPr userDrawn="1"/>
          </p:nvSpPr>
          <p:spPr bwMode="auto">
            <a:xfrm>
              <a:off x="2753545" y="570525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3" name="Oval 1222"/>
            <p:cNvSpPr>
              <a:spLocks noChangeAspect="1" noChangeArrowheads="1"/>
            </p:cNvSpPr>
            <p:nvPr userDrawn="1"/>
          </p:nvSpPr>
          <p:spPr bwMode="auto">
            <a:xfrm>
              <a:off x="4103013"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4" name="Oval 1223"/>
            <p:cNvSpPr>
              <a:spLocks noChangeAspect="1" noChangeArrowheads="1"/>
            </p:cNvSpPr>
            <p:nvPr userDrawn="1"/>
          </p:nvSpPr>
          <p:spPr bwMode="auto">
            <a:xfrm>
              <a:off x="4214589"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grpSp>
      <p:grpSp>
        <p:nvGrpSpPr>
          <p:cNvPr id="3" name="CDN Dots"/>
          <p:cNvGrpSpPr/>
          <p:nvPr/>
        </p:nvGrpSpPr>
        <p:grpSpPr>
          <a:xfrm>
            <a:off x="2287996" y="2223677"/>
            <a:ext cx="7802253" cy="3600206"/>
            <a:chOff x="1065212" y="2264980"/>
            <a:chExt cx="6508365" cy="3003165"/>
          </a:xfrm>
        </p:grpSpPr>
        <p:sp>
          <p:nvSpPr>
            <p:cNvPr id="1225" name="Oval 1224"/>
            <p:cNvSpPr/>
            <p:nvPr/>
          </p:nvSpPr>
          <p:spPr bwMode="auto">
            <a:xfrm>
              <a:off x="2181942" y="29429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26" name="Oval 1225"/>
            <p:cNvSpPr/>
            <p:nvPr/>
          </p:nvSpPr>
          <p:spPr bwMode="auto">
            <a:xfrm>
              <a:off x="1154552" y="3050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27" name="Oval 1226"/>
            <p:cNvSpPr/>
            <p:nvPr/>
          </p:nvSpPr>
          <p:spPr bwMode="auto">
            <a:xfrm>
              <a:off x="2045302" y="32555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28" name="Oval 1227"/>
            <p:cNvSpPr/>
            <p:nvPr/>
          </p:nvSpPr>
          <p:spPr bwMode="auto">
            <a:xfrm>
              <a:off x="2360612" y="28194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29" name="Oval 1228"/>
            <p:cNvSpPr/>
            <p:nvPr/>
          </p:nvSpPr>
          <p:spPr bwMode="auto">
            <a:xfrm>
              <a:off x="1065212" y="2590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0" name="Oval 1229"/>
            <p:cNvSpPr/>
            <p:nvPr/>
          </p:nvSpPr>
          <p:spPr bwMode="auto">
            <a:xfrm>
              <a:off x="4722812" y="2362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1" name="Oval 1230"/>
            <p:cNvSpPr/>
            <p:nvPr/>
          </p:nvSpPr>
          <p:spPr bwMode="auto">
            <a:xfrm>
              <a:off x="3863592" y="265386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2" name="Oval 1231"/>
            <p:cNvSpPr/>
            <p:nvPr/>
          </p:nvSpPr>
          <p:spPr bwMode="auto">
            <a:xfrm>
              <a:off x="4199922" y="2264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3" name="Oval 1232"/>
            <p:cNvSpPr/>
            <p:nvPr/>
          </p:nvSpPr>
          <p:spPr bwMode="auto">
            <a:xfrm>
              <a:off x="4320792" y="2645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4" name="Oval 1233"/>
            <p:cNvSpPr/>
            <p:nvPr/>
          </p:nvSpPr>
          <p:spPr bwMode="auto">
            <a:xfrm>
              <a:off x="4192042" y="2743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5" name="Oval 1234"/>
            <p:cNvSpPr/>
            <p:nvPr/>
          </p:nvSpPr>
          <p:spPr bwMode="auto">
            <a:xfrm>
              <a:off x="2921159" y="4472618"/>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6" name="Oval 1235"/>
            <p:cNvSpPr/>
            <p:nvPr/>
          </p:nvSpPr>
          <p:spPr bwMode="auto">
            <a:xfrm>
              <a:off x="6485922" y="33317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7" name="Oval 1236"/>
            <p:cNvSpPr/>
            <p:nvPr/>
          </p:nvSpPr>
          <p:spPr bwMode="auto">
            <a:xfrm>
              <a:off x="6780212" y="2971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8" name="Oval 1237"/>
            <p:cNvSpPr/>
            <p:nvPr/>
          </p:nvSpPr>
          <p:spPr bwMode="auto">
            <a:xfrm>
              <a:off x="6246812" y="4114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9" name="Oval 1238"/>
            <p:cNvSpPr/>
            <p:nvPr/>
          </p:nvSpPr>
          <p:spPr bwMode="auto">
            <a:xfrm>
              <a:off x="7261062" y="4955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0" name="Oval 1239"/>
            <p:cNvSpPr/>
            <p:nvPr/>
          </p:nvSpPr>
          <p:spPr bwMode="auto">
            <a:xfrm>
              <a:off x="7008812" y="28509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1" name="Oval 1240"/>
            <p:cNvSpPr/>
            <p:nvPr/>
          </p:nvSpPr>
          <p:spPr bwMode="auto">
            <a:xfrm>
              <a:off x="7063992" y="3026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2" name="Oval 1241"/>
            <p:cNvSpPr/>
            <p:nvPr/>
          </p:nvSpPr>
          <p:spPr bwMode="auto">
            <a:xfrm>
              <a:off x="5059142" y="33081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1243" name="Data Center Dots"/>
          <p:cNvGrpSpPr/>
          <p:nvPr/>
        </p:nvGrpSpPr>
        <p:grpSpPr>
          <a:xfrm>
            <a:off x="2355988" y="2410998"/>
            <a:ext cx="6947306" cy="2286676"/>
            <a:chOff x="1067332" y="2443650"/>
            <a:chExt cx="5795198" cy="1907465"/>
          </a:xfrm>
        </p:grpSpPr>
        <p:sp>
          <p:nvSpPr>
            <p:cNvPr id="1244" name="Oval 1243"/>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5" name="Oval 124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6" name="Oval 1245"/>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7" name="Oval 1246"/>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8" name="Oval 1247"/>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9" name="Oval 124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50" name="Oval 124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1251" name="Oval 125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grpSp>
    </p:spTree>
    <p:extLst>
      <p:ext uri="{BB962C8B-B14F-4D97-AF65-F5344CB8AC3E}">
        <p14:creationId xmlns:p14="http://schemas.microsoft.com/office/powerpoint/2010/main" val="2326445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On Prem Stack"/>
          <p:cNvGrpSpPr/>
          <p:nvPr/>
        </p:nvGrpSpPr>
        <p:grpSpPr>
          <a:xfrm>
            <a:off x="10747042" y="-3910"/>
            <a:ext cx="1444958" cy="6862862"/>
            <a:chOff x="10747042" y="-3910"/>
            <a:chExt cx="1444958" cy="6862862"/>
          </a:xfrm>
        </p:grpSpPr>
        <p:sp>
          <p:nvSpPr>
            <p:cNvPr id="66" name="Azure Menu Blue Background"/>
            <p:cNvSpPr/>
            <p:nvPr/>
          </p:nvSpPr>
          <p:spPr>
            <a:xfrm>
              <a:off x="10747042" y="1"/>
              <a:ext cx="1444958" cy="6857999"/>
            </a:xfrm>
            <a:prstGeom prst="rect">
              <a:avLst/>
            </a:prstGeom>
            <a:solidFill>
              <a:srgbClr val="71B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C454F"/>
                </a:solidFill>
              </a:endParaRPr>
            </a:p>
          </p:txBody>
        </p:sp>
        <p:sp>
          <p:nvSpPr>
            <p:cNvPr id="47" name="Rectangle 46"/>
            <p:cNvSpPr/>
            <p:nvPr/>
          </p:nvSpPr>
          <p:spPr>
            <a:xfrm>
              <a:off x="10753859" y="5431903"/>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48" name="Rectangle 47"/>
            <p:cNvSpPr/>
            <p:nvPr/>
          </p:nvSpPr>
          <p:spPr>
            <a:xfrm>
              <a:off x="10753859" y="4655358"/>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49" name="Rectangle 48"/>
            <p:cNvSpPr/>
            <p:nvPr/>
          </p:nvSpPr>
          <p:spPr>
            <a:xfrm>
              <a:off x="10753859" y="6208444"/>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50" name="Rectangle 49"/>
            <p:cNvSpPr/>
            <p:nvPr/>
          </p:nvSpPr>
          <p:spPr>
            <a:xfrm>
              <a:off x="10753859" y="3102269"/>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51" name="Rectangle 50"/>
            <p:cNvSpPr/>
            <p:nvPr/>
          </p:nvSpPr>
          <p:spPr>
            <a:xfrm>
              <a:off x="10753859" y="2325724"/>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52" name="Rectangle 51"/>
            <p:cNvSpPr/>
            <p:nvPr/>
          </p:nvSpPr>
          <p:spPr>
            <a:xfrm>
              <a:off x="10753859" y="3878813"/>
              <a:ext cx="1438141" cy="650508"/>
            </a:xfrm>
            <a:prstGeom prst="rect">
              <a:avLst/>
            </a:prstGeom>
            <a:solidFill>
              <a:srgbClr val="71B1D1"/>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53" name="Rectangle 52"/>
            <p:cNvSpPr/>
            <p:nvPr/>
          </p:nvSpPr>
          <p:spPr>
            <a:xfrm>
              <a:off x="10753859" y="772635"/>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54" name="Rectangle 53"/>
            <p:cNvSpPr/>
            <p:nvPr/>
          </p:nvSpPr>
          <p:spPr>
            <a:xfrm>
              <a:off x="10753859" y="-3910"/>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55" name="Rectangle 54"/>
            <p:cNvSpPr/>
            <p:nvPr/>
          </p:nvSpPr>
          <p:spPr>
            <a:xfrm>
              <a:off x="10753859" y="1549179"/>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cxnSp>
          <p:nvCxnSpPr>
            <p:cNvPr id="45" name="Straight Connector 44"/>
            <p:cNvCxnSpPr/>
            <p:nvPr/>
          </p:nvCxnSpPr>
          <p:spPr>
            <a:xfrm flipH="1">
              <a:off x="10922000" y="6171981"/>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10922000" y="5371113"/>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10922000" y="4613769"/>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a:off x="10922000" y="3823902"/>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10922000" y="3067114"/>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a:off x="10922000" y="2252858"/>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H="1">
              <a:off x="10922000" y="1456028"/>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10922000" y="727026"/>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grpSp>
      <p:grpSp>
        <p:nvGrpSpPr>
          <p:cNvPr id="4" name="Azure Services"/>
          <p:cNvGrpSpPr/>
          <p:nvPr/>
        </p:nvGrpSpPr>
        <p:grpSpPr>
          <a:xfrm>
            <a:off x="0" y="1"/>
            <a:ext cx="1478894" cy="6858272"/>
            <a:chOff x="0" y="1"/>
            <a:chExt cx="1478894" cy="6858272"/>
          </a:xfrm>
        </p:grpSpPr>
        <p:pic>
          <p:nvPicPr>
            <p:cNvPr id="5" name="Bottom"/>
            <p:cNvPicPr>
              <a:picLocks noChangeAspect="1"/>
            </p:cNvPicPr>
            <p:nvPr/>
          </p:nvPicPr>
          <p:blipFill>
            <a:blip r:embed="rId2"/>
            <a:stretch>
              <a:fillRect/>
            </a:stretch>
          </p:blipFill>
          <p:spPr>
            <a:xfrm>
              <a:off x="0" y="3769676"/>
              <a:ext cx="1444958" cy="3088597"/>
            </a:xfrm>
            <a:prstGeom prst="rect">
              <a:avLst/>
            </a:prstGeom>
          </p:spPr>
        </p:pic>
        <p:pic>
          <p:nvPicPr>
            <p:cNvPr id="6" name="Top"/>
            <p:cNvPicPr>
              <a:picLocks noChangeAspect="1"/>
            </p:cNvPicPr>
            <p:nvPr/>
          </p:nvPicPr>
          <p:blipFill>
            <a:blip r:embed="rId3"/>
            <a:stretch>
              <a:fillRect/>
            </a:stretch>
          </p:blipFill>
          <p:spPr>
            <a:xfrm>
              <a:off x="0" y="1"/>
              <a:ext cx="1444666" cy="3769675"/>
            </a:xfrm>
            <a:prstGeom prst="rect">
              <a:avLst/>
            </a:prstGeom>
          </p:spPr>
        </p:pic>
        <p:sp>
          <p:nvSpPr>
            <p:cNvPr id="7" name="Azure Menu Blue Background"/>
            <p:cNvSpPr/>
            <p:nvPr/>
          </p:nvSpPr>
          <p:spPr>
            <a:xfrm>
              <a:off x="0" y="1"/>
              <a:ext cx="1444958" cy="6857999"/>
            </a:xfrm>
            <a:prstGeom prst="rect">
              <a:avLst/>
            </a:prstGeom>
            <a:solidFill>
              <a:srgbClr val="71B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C454F"/>
                </a:solidFill>
              </a:endParaRPr>
            </a:p>
          </p:txBody>
        </p:sp>
        <p:sp>
          <p:nvSpPr>
            <p:cNvPr id="8" name="Settings Name"/>
            <p:cNvSpPr txBox="1"/>
            <p:nvPr/>
          </p:nvSpPr>
          <p:spPr>
            <a:xfrm>
              <a:off x="391493" y="6310710"/>
              <a:ext cx="1087401"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ETTINGS</a:t>
              </a:r>
              <a:endParaRPr lang="en-US" sz="650" dirty="0">
                <a:solidFill>
                  <a:srgbClr val="FFFFFF"/>
                </a:solidFill>
                <a:latin typeface="Segoe UI" panose="020B0502040204020203" pitchFamily="34" charset="0"/>
                <a:cs typeface="Segoe UI" panose="020B0502040204020203" pitchFamily="34" charset="0"/>
              </a:endParaRPr>
            </a:p>
          </p:txBody>
        </p:sp>
        <p:sp>
          <p:nvSpPr>
            <p:cNvPr id="9" name="Settings Icon"/>
            <p:cNvSpPr>
              <a:spLocks noChangeAspect="1"/>
            </p:cNvSpPr>
            <p:nvPr/>
          </p:nvSpPr>
          <p:spPr>
            <a:xfrm>
              <a:off x="109137" y="6348478"/>
              <a:ext cx="213827" cy="213841"/>
            </a:xfrm>
            <a:custGeom>
              <a:avLst/>
              <a:gdLst>
                <a:gd name="connsiteX0" fmla="*/ 1340099 w 2680224"/>
                <a:gd name="connsiteY0" fmla="*/ 739851 h 2680403"/>
                <a:gd name="connsiteX1" fmla="*/ 739750 w 2680224"/>
                <a:gd name="connsiteY1" fmla="*/ 1340200 h 2680403"/>
                <a:gd name="connsiteX2" fmla="*/ 1340099 w 2680224"/>
                <a:gd name="connsiteY2" fmla="*/ 1940549 h 2680403"/>
                <a:gd name="connsiteX3" fmla="*/ 1940448 w 2680224"/>
                <a:gd name="connsiteY3" fmla="*/ 1340200 h 2680403"/>
                <a:gd name="connsiteX4" fmla="*/ 1340099 w 2680224"/>
                <a:gd name="connsiteY4" fmla="*/ 739851 h 2680403"/>
                <a:gd name="connsiteX5" fmla="*/ 1444875 w 2680224"/>
                <a:gd name="connsiteY5" fmla="*/ 0 h 2680403"/>
                <a:gd name="connsiteX6" fmla="*/ 1477668 w 2680224"/>
                <a:gd name="connsiteY6" fmla="*/ 1656 h 2680403"/>
                <a:gd name="connsiteX7" fmla="*/ 1863825 w 2680224"/>
                <a:gd name="connsiteY7" fmla="*/ 100445 h 2680403"/>
                <a:gd name="connsiteX8" fmla="*/ 1915681 w 2680224"/>
                <a:gd name="connsiteY8" fmla="*/ 125425 h 2680403"/>
                <a:gd name="connsiteX9" fmla="*/ 1902800 w 2680224"/>
                <a:gd name="connsiteY9" fmla="*/ 183983 h 2680403"/>
                <a:gd name="connsiteX10" fmla="*/ 2015862 w 2680224"/>
                <a:gd name="connsiteY10" fmla="*/ 485877 h 2680403"/>
                <a:gd name="connsiteX11" fmla="*/ 2337947 w 2680224"/>
                <a:gd name="connsiteY11" fmla="*/ 499453 h 2680403"/>
                <a:gd name="connsiteX12" fmla="*/ 2373193 w 2680224"/>
                <a:gd name="connsiteY12" fmla="*/ 478673 h 2680403"/>
                <a:gd name="connsiteX13" fmla="*/ 2378346 w 2680224"/>
                <a:gd name="connsiteY13" fmla="*/ 484343 h 2680403"/>
                <a:gd name="connsiteX14" fmla="*/ 2579856 w 2680224"/>
                <a:gd name="connsiteY14" fmla="*/ 816475 h 2680403"/>
                <a:gd name="connsiteX15" fmla="*/ 2601000 w 2680224"/>
                <a:gd name="connsiteY15" fmla="*/ 874246 h 2680403"/>
                <a:gd name="connsiteX16" fmla="*/ 2550843 w 2680224"/>
                <a:gd name="connsiteY16" fmla="*/ 907104 h 2680403"/>
                <a:gd name="connsiteX17" fmla="*/ 2420571 w 2680224"/>
                <a:gd name="connsiteY17" fmla="*/ 1201980 h 2680403"/>
                <a:gd name="connsiteX18" fmla="*/ 2641332 w 2680224"/>
                <a:gd name="connsiteY18" fmla="*/ 1436902 h 2680403"/>
                <a:gd name="connsiteX19" fmla="*/ 2680224 w 2680224"/>
                <a:gd name="connsiteY19" fmla="*/ 1446486 h 2680403"/>
                <a:gd name="connsiteX20" fmla="*/ 2678644 w 2680224"/>
                <a:gd name="connsiteY20" fmla="*/ 1477770 h 2680403"/>
                <a:gd name="connsiteX21" fmla="*/ 2579856 w 2680224"/>
                <a:gd name="connsiteY21" fmla="*/ 1863927 h 2680403"/>
                <a:gd name="connsiteX22" fmla="*/ 2541908 w 2680224"/>
                <a:gd name="connsiteY22" fmla="*/ 1942702 h 2680403"/>
                <a:gd name="connsiteX23" fmla="*/ 2483512 w 2680224"/>
                <a:gd name="connsiteY23" fmla="*/ 1928488 h 2680403"/>
                <a:gd name="connsiteX24" fmla="*/ 2411979 w 2680224"/>
                <a:gd name="connsiteY24" fmla="*/ 1923852 h 2680403"/>
                <a:gd name="connsiteX25" fmla="*/ 2179176 w 2680224"/>
                <a:gd name="connsiteY25" fmla="*/ 2034804 h 2680403"/>
                <a:gd name="connsiteX26" fmla="*/ 2158437 w 2680224"/>
                <a:gd name="connsiteY26" fmla="*/ 2356508 h 2680403"/>
                <a:gd name="connsiteX27" fmla="*/ 2178171 w 2680224"/>
                <a:gd name="connsiteY27" fmla="*/ 2391748 h 2680403"/>
                <a:gd name="connsiteX28" fmla="*/ 2092377 w 2680224"/>
                <a:gd name="connsiteY28" fmla="*/ 2455904 h 2680403"/>
                <a:gd name="connsiteX29" fmla="*/ 1863825 w 2680224"/>
                <a:gd name="connsiteY29" fmla="*/ 2579958 h 2680403"/>
                <a:gd name="connsiteX30" fmla="*/ 1807263 w 2680224"/>
                <a:gd name="connsiteY30" fmla="*/ 2600660 h 2680403"/>
                <a:gd name="connsiteX31" fmla="*/ 1790981 w 2680224"/>
                <a:gd name="connsiteY31" fmla="*/ 2572775 h 2680403"/>
                <a:gd name="connsiteX32" fmla="*/ 1545288 w 2680224"/>
                <a:gd name="connsiteY32" fmla="*/ 2417535 h 2680403"/>
                <a:gd name="connsiteX33" fmla="*/ 1479528 w 2680224"/>
                <a:gd name="connsiteY33" fmla="*/ 2420517 h 2680403"/>
                <a:gd name="connsiteX34" fmla="*/ 1244855 w 2680224"/>
                <a:gd name="connsiteY34" fmla="*/ 2641540 h 2680403"/>
                <a:gd name="connsiteX35" fmla="*/ 1235324 w 2680224"/>
                <a:gd name="connsiteY35" fmla="*/ 2680403 h 2680403"/>
                <a:gd name="connsiteX36" fmla="*/ 1202530 w 2680224"/>
                <a:gd name="connsiteY36" fmla="*/ 2678747 h 2680403"/>
                <a:gd name="connsiteX37" fmla="*/ 816373 w 2680224"/>
                <a:gd name="connsiteY37" fmla="*/ 2579958 h 2680403"/>
                <a:gd name="connsiteX38" fmla="*/ 764518 w 2680224"/>
                <a:gd name="connsiteY38" fmla="*/ 2554978 h 2680403"/>
                <a:gd name="connsiteX39" fmla="*/ 777399 w 2680224"/>
                <a:gd name="connsiteY39" fmla="*/ 2496418 h 2680403"/>
                <a:gd name="connsiteX40" fmla="*/ 664337 w 2680224"/>
                <a:gd name="connsiteY40" fmla="*/ 2194524 h 2680403"/>
                <a:gd name="connsiteX41" fmla="*/ 477152 w 2680224"/>
                <a:gd name="connsiteY41" fmla="*/ 2144011 h 2680403"/>
                <a:gd name="connsiteX42" fmla="*/ 309565 w 2680224"/>
                <a:gd name="connsiteY42" fmla="*/ 2198379 h 2680403"/>
                <a:gd name="connsiteX43" fmla="*/ 306216 w 2680224"/>
                <a:gd name="connsiteY43" fmla="*/ 2200860 h 2680403"/>
                <a:gd name="connsiteX44" fmla="*/ 301852 w 2680224"/>
                <a:gd name="connsiteY44" fmla="*/ 2196059 h 2680403"/>
                <a:gd name="connsiteX45" fmla="*/ 100343 w 2680224"/>
                <a:gd name="connsiteY45" fmla="*/ 1863927 h 2680403"/>
                <a:gd name="connsiteX46" fmla="*/ 79198 w 2680224"/>
                <a:gd name="connsiteY46" fmla="*/ 1806155 h 2680403"/>
                <a:gd name="connsiteX47" fmla="*/ 129356 w 2680224"/>
                <a:gd name="connsiteY47" fmla="*/ 1773297 h 2680403"/>
                <a:gd name="connsiteX48" fmla="*/ 259628 w 2680224"/>
                <a:gd name="connsiteY48" fmla="*/ 1478420 h 2680403"/>
                <a:gd name="connsiteX49" fmla="*/ 21297 w 2680224"/>
                <a:gd name="connsiteY49" fmla="*/ 1237949 h 2680403"/>
                <a:gd name="connsiteX50" fmla="*/ 0 w 2680224"/>
                <a:gd name="connsiteY50" fmla="*/ 1233409 h 2680403"/>
                <a:gd name="connsiteX51" fmla="*/ 1554 w 2680224"/>
                <a:gd name="connsiteY51" fmla="*/ 1202632 h 2680403"/>
                <a:gd name="connsiteX52" fmla="*/ 100343 w 2680224"/>
                <a:gd name="connsiteY52" fmla="*/ 816475 h 2680403"/>
                <a:gd name="connsiteX53" fmla="*/ 138291 w 2680224"/>
                <a:gd name="connsiteY53" fmla="*/ 737699 h 2680403"/>
                <a:gd name="connsiteX54" fmla="*/ 196689 w 2680224"/>
                <a:gd name="connsiteY54" fmla="*/ 751913 h 2680403"/>
                <a:gd name="connsiteX55" fmla="*/ 501024 w 2680224"/>
                <a:gd name="connsiteY55" fmla="*/ 645597 h 2680403"/>
                <a:gd name="connsiteX56" fmla="*/ 521763 w 2680224"/>
                <a:gd name="connsiteY56" fmla="*/ 323894 h 2680403"/>
                <a:gd name="connsiteX57" fmla="*/ 502029 w 2680224"/>
                <a:gd name="connsiteY57" fmla="*/ 288653 h 2680403"/>
                <a:gd name="connsiteX58" fmla="*/ 587822 w 2680224"/>
                <a:gd name="connsiteY58" fmla="*/ 224498 h 2680403"/>
                <a:gd name="connsiteX59" fmla="*/ 816373 w 2680224"/>
                <a:gd name="connsiteY59" fmla="*/ 100445 h 2680403"/>
                <a:gd name="connsiteX60" fmla="*/ 872732 w 2680224"/>
                <a:gd name="connsiteY60" fmla="*/ 79817 h 2680403"/>
                <a:gd name="connsiteX61" fmla="*/ 905649 w 2680224"/>
                <a:gd name="connsiteY61" fmla="*/ 129943 h 2680403"/>
                <a:gd name="connsiteX62" fmla="*/ 1200670 w 2680224"/>
                <a:gd name="connsiteY62" fmla="*/ 259885 h 2680403"/>
                <a:gd name="connsiteX63" fmla="*/ 1435345 w 2680224"/>
                <a:gd name="connsiteY63" fmla="*/ 38861 h 268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680224" h="2680403">
                  <a:moveTo>
                    <a:pt x="1340099" y="739851"/>
                  </a:moveTo>
                  <a:cubicBezTo>
                    <a:pt x="1008535" y="739851"/>
                    <a:pt x="739750" y="1008636"/>
                    <a:pt x="739750" y="1340200"/>
                  </a:cubicBezTo>
                  <a:cubicBezTo>
                    <a:pt x="739750" y="1671764"/>
                    <a:pt x="1008535" y="1940549"/>
                    <a:pt x="1340099" y="1940549"/>
                  </a:cubicBezTo>
                  <a:cubicBezTo>
                    <a:pt x="1671663" y="1940549"/>
                    <a:pt x="1940448" y="1671764"/>
                    <a:pt x="1940448" y="1340200"/>
                  </a:cubicBezTo>
                  <a:cubicBezTo>
                    <a:pt x="1940448" y="1008636"/>
                    <a:pt x="1671663" y="739851"/>
                    <a:pt x="1340099" y="739851"/>
                  </a:cubicBezTo>
                  <a:close/>
                  <a:moveTo>
                    <a:pt x="1444875" y="0"/>
                  </a:moveTo>
                  <a:lnTo>
                    <a:pt x="1477668" y="1656"/>
                  </a:lnTo>
                  <a:cubicBezTo>
                    <a:pt x="1613362" y="15436"/>
                    <a:pt x="1743096" y="49380"/>
                    <a:pt x="1863825" y="100445"/>
                  </a:cubicBezTo>
                  <a:lnTo>
                    <a:pt x="1915681" y="125425"/>
                  </a:lnTo>
                  <a:lnTo>
                    <a:pt x="1902800" y="183983"/>
                  </a:lnTo>
                  <a:cubicBezTo>
                    <a:pt x="1886898" y="305142"/>
                    <a:pt x="1925293" y="420217"/>
                    <a:pt x="2015862" y="485877"/>
                  </a:cubicBezTo>
                  <a:cubicBezTo>
                    <a:pt x="2106431" y="551537"/>
                    <a:pt x="2227740" y="552244"/>
                    <a:pt x="2337947" y="499453"/>
                  </a:cubicBezTo>
                  <a:lnTo>
                    <a:pt x="2373193" y="478673"/>
                  </a:lnTo>
                  <a:lnTo>
                    <a:pt x="2378346" y="484343"/>
                  </a:lnTo>
                  <a:cubicBezTo>
                    <a:pt x="2460607" y="584020"/>
                    <a:pt x="2528791" y="695746"/>
                    <a:pt x="2579856" y="816475"/>
                  </a:cubicBezTo>
                  <a:lnTo>
                    <a:pt x="2601000" y="874246"/>
                  </a:lnTo>
                  <a:lnTo>
                    <a:pt x="2550843" y="907104"/>
                  </a:lnTo>
                  <a:cubicBezTo>
                    <a:pt x="2454755" y="982599"/>
                    <a:pt x="2401737" y="1091711"/>
                    <a:pt x="2420571" y="1201980"/>
                  </a:cubicBezTo>
                  <a:cubicBezTo>
                    <a:pt x="2439405" y="1312250"/>
                    <a:pt x="2525633" y="1397580"/>
                    <a:pt x="2641332" y="1436902"/>
                  </a:cubicBezTo>
                  <a:lnTo>
                    <a:pt x="2680224" y="1446486"/>
                  </a:lnTo>
                  <a:lnTo>
                    <a:pt x="2678644" y="1477770"/>
                  </a:lnTo>
                  <a:cubicBezTo>
                    <a:pt x="2664864" y="1613464"/>
                    <a:pt x="2630920" y="1743198"/>
                    <a:pt x="2579856" y="1863927"/>
                  </a:cubicBezTo>
                  <a:lnTo>
                    <a:pt x="2541908" y="1942702"/>
                  </a:lnTo>
                  <a:lnTo>
                    <a:pt x="2483512" y="1928488"/>
                  </a:lnTo>
                  <a:cubicBezTo>
                    <a:pt x="2459357" y="1924769"/>
                    <a:pt x="2435397" y="1923226"/>
                    <a:pt x="2411979" y="1923852"/>
                  </a:cubicBezTo>
                  <a:cubicBezTo>
                    <a:pt x="2318306" y="1926354"/>
                    <a:pt x="2233305" y="1963536"/>
                    <a:pt x="2179176" y="2034804"/>
                  </a:cubicBezTo>
                  <a:cubicBezTo>
                    <a:pt x="2111517" y="2123890"/>
                    <a:pt x="2108111" y="2245153"/>
                    <a:pt x="2158437" y="2356508"/>
                  </a:cubicBezTo>
                  <a:lnTo>
                    <a:pt x="2178171" y="2391748"/>
                  </a:lnTo>
                  <a:lnTo>
                    <a:pt x="2092377" y="2455904"/>
                  </a:lnTo>
                  <a:cubicBezTo>
                    <a:pt x="2020796" y="2504263"/>
                    <a:pt x="1944312" y="2545915"/>
                    <a:pt x="1863825" y="2579958"/>
                  </a:cubicBezTo>
                  <a:lnTo>
                    <a:pt x="1807263" y="2600660"/>
                  </a:lnTo>
                  <a:lnTo>
                    <a:pt x="1790981" y="2572775"/>
                  </a:lnTo>
                  <a:cubicBezTo>
                    <a:pt x="1729394" y="2483255"/>
                    <a:pt x="1640241" y="2425089"/>
                    <a:pt x="1545288" y="2417535"/>
                  </a:cubicBezTo>
                  <a:cubicBezTo>
                    <a:pt x="1523583" y="2415808"/>
                    <a:pt x="1501578" y="2416725"/>
                    <a:pt x="1479528" y="2420517"/>
                  </a:cubicBezTo>
                  <a:cubicBezTo>
                    <a:pt x="1369280" y="2439474"/>
                    <a:pt x="1284047" y="2525797"/>
                    <a:pt x="1244855" y="2641540"/>
                  </a:cubicBezTo>
                  <a:lnTo>
                    <a:pt x="1235324" y="2680403"/>
                  </a:lnTo>
                  <a:lnTo>
                    <a:pt x="1202530" y="2678747"/>
                  </a:lnTo>
                  <a:cubicBezTo>
                    <a:pt x="1066836" y="2664966"/>
                    <a:pt x="937102" y="2631022"/>
                    <a:pt x="816373" y="2579958"/>
                  </a:cubicBezTo>
                  <a:lnTo>
                    <a:pt x="764518" y="2554978"/>
                  </a:lnTo>
                  <a:lnTo>
                    <a:pt x="777399" y="2496418"/>
                  </a:lnTo>
                  <a:cubicBezTo>
                    <a:pt x="793301" y="2375259"/>
                    <a:pt x="754906" y="2260185"/>
                    <a:pt x="664337" y="2194524"/>
                  </a:cubicBezTo>
                  <a:cubicBezTo>
                    <a:pt x="609996" y="2155128"/>
                    <a:pt x="544588" y="2139115"/>
                    <a:pt x="477152" y="2144011"/>
                  </a:cubicBezTo>
                  <a:cubicBezTo>
                    <a:pt x="420955" y="2148091"/>
                    <a:pt x="363349" y="2166691"/>
                    <a:pt x="309565" y="2198379"/>
                  </a:cubicBezTo>
                  <a:lnTo>
                    <a:pt x="306216" y="2200860"/>
                  </a:lnTo>
                  <a:lnTo>
                    <a:pt x="301852" y="2196059"/>
                  </a:lnTo>
                  <a:cubicBezTo>
                    <a:pt x="219591" y="2096382"/>
                    <a:pt x="151407" y="1984657"/>
                    <a:pt x="100343" y="1863927"/>
                  </a:cubicBezTo>
                  <a:lnTo>
                    <a:pt x="79198" y="1806155"/>
                  </a:lnTo>
                  <a:lnTo>
                    <a:pt x="129356" y="1773297"/>
                  </a:lnTo>
                  <a:cubicBezTo>
                    <a:pt x="225445" y="1697801"/>
                    <a:pt x="278462" y="1588690"/>
                    <a:pt x="259628" y="1478420"/>
                  </a:cubicBezTo>
                  <a:cubicBezTo>
                    <a:pt x="239853" y="1362637"/>
                    <a:pt x="145776" y="1274351"/>
                    <a:pt x="21297" y="1237949"/>
                  </a:cubicBezTo>
                  <a:lnTo>
                    <a:pt x="0" y="1233409"/>
                  </a:lnTo>
                  <a:lnTo>
                    <a:pt x="1554" y="1202632"/>
                  </a:lnTo>
                  <a:cubicBezTo>
                    <a:pt x="15334" y="1066938"/>
                    <a:pt x="49279" y="937204"/>
                    <a:pt x="100343" y="816475"/>
                  </a:cubicBezTo>
                  <a:lnTo>
                    <a:pt x="138291" y="737699"/>
                  </a:lnTo>
                  <a:lnTo>
                    <a:pt x="196689" y="751913"/>
                  </a:lnTo>
                  <a:cubicBezTo>
                    <a:pt x="317465" y="770507"/>
                    <a:pt x="433365" y="734683"/>
                    <a:pt x="501024" y="645597"/>
                  </a:cubicBezTo>
                  <a:cubicBezTo>
                    <a:pt x="568683" y="556511"/>
                    <a:pt x="572089" y="435249"/>
                    <a:pt x="521763" y="323894"/>
                  </a:cubicBezTo>
                  <a:lnTo>
                    <a:pt x="502029" y="288653"/>
                  </a:lnTo>
                  <a:lnTo>
                    <a:pt x="587822" y="224498"/>
                  </a:lnTo>
                  <a:cubicBezTo>
                    <a:pt x="659402" y="176139"/>
                    <a:pt x="735887" y="134487"/>
                    <a:pt x="816373" y="100445"/>
                  </a:cubicBezTo>
                  <a:lnTo>
                    <a:pt x="872732" y="79817"/>
                  </a:lnTo>
                  <a:lnTo>
                    <a:pt x="905649" y="129943"/>
                  </a:lnTo>
                  <a:cubicBezTo>
                    <a:pt x="981252" y="225947"/>
                    <a:pt x="1090423" y="278842"/>
                    <a:pt x="1200670" y="259885"/>
                  </a:cubicBezTo>
                  <a:cubicBezTo>
                    <a:pt x="1310919" y="240927"/>
                    <a:pt x="1396152" y="154604"/>
                    <a:pt x="1435345" y="38861"/>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0" name="Add-Ons Name"/>
            <p:cNvSpPr txBox="1"/>
            <p:nvPr/>
          </p:nvSpPr>
          <p:spPr>
            <a:xfrm>
              <a:off x="391493" y="5951801"/>
              <a:ext cx="1087401"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ADD-ONS2</a:t>
              </a:r>
              <a:endParaRPr lang="en-US" sz="650" dirty="0">
                <a:solidFill>
                  <a:srgbClr val="FFFFFF"/>
                </a:solidFill>
                <a:latin typeface="Segoe UI" panose="020B0502040204020203" pitchFamily="34" charset="0"/>
                <a:cs typeface="Segoe UI" panose="020B0502040204020203" pitchFamily="34" charset="0"/>
              </a:endParaRPr>
            </a:p>
          </p:txBody>
        </p:sp>
        <p:sp>
          <p:nvSpPr>
            <p:cNvPr id="11" name="Add-Ons Icon"/>
            <p:cNvSpPr>
              <a:spLocks noChangeAspect="1"/>
            </p:cNvSpPr>
            <p:nvPr/>
          </p:nvSpPr>
          <p:spPr>
            <a:xfrm>
              <a:off x="94368" y="5974099"/>
              <a:ext cx="243364" cy="243364"/>
            </a:xfrm>
            <a:custGeom>
              <a:avLst/>
              <a:gdLst>
                <a:gd name="connsiteX0" fmla="*/ 351753 w 2153776"/>
                <a:gd name="connsiteY0" fmla="*/ 1122366 h 2085020"/>
                <a:gd name="connsiteX1" fmla="*/ 142203 w 2153776"/>
                <a:gd name="connsiteY1" fmla="*/ 1541466 h 2085020"/>
                <a:gd name="connsiteX2" fmla="*/ 351753 w 2153776"/>
                <a:gd name="connsiteY2" fmla="*/ 1960566 h 2085020"/>
                <a:gd name="connsiteX3" fmla="*/ 924518 w 2153776"/>
                <a:gd name="connsiteY3" fmla="*/ 1960566 h 2085020"/>
                <a:gd name="connsiteX4" fmla="*/ 1134068 w 2153776"/>
                <a:gd name="connsiteY4" fmla="*/ 1541466 h 2085020"/>
                <a:gd name="connsiteX5" fmla="*/ 924518 w 2153776"/>
                <a:gd name="connsiteY5" fmla="*/ 1122366 h 2085020"/>
                <a:gd name="connsiteX6" fmla="*/ 1388075 w 2153776"/>
                <a:gd name="connsiteY6" fmla="*/ 815802 h 2085020"/>
                <a:gd name="connsiteX7" fmla="*/ 1699492 w 2153776"/>
                <a:gd name="connsiteY7" fmla="*/ 815802 h 2085020"/>
                <a:gd name="connsiteX8" fmla="*/ 1813426 w 2153776"/>
                <a:gd name="connsiteY8" fmla="*/ 1043671 h 2085020"/>
                <a:gd name="connsiteX9" fmla="*/ 1699492 w 2153776"/>
                <a:gd name="connsiteY9" fmla="*/ 1271540 h 2085020"/>
                <a:gd name="connsiteX10" fmla="*/ 1388075 w 2153776"/>
                <a:gd name="connsiteY10" fmla="*/ 1271540 h 2085020"/>
                <a:gd name="connsiteX11" fmla="*/ 1274140 w 2153776"/>
                <a:gd name="connsiteY11" fmla="*/ 1043671 h 2085020"/>
                <a:gd name="connsiteX12" fmla="*/ 1226453 w 2153776"/>
                <a:gd name="connsiteY12" fmla="*/ 604594 h 2085020"/>
                <a:gd name="connsiteX13" fmla="*/ 1016903 w 2153776"/>
                <a:gd name="connsiteY13" fmla="*/ 1023694 h 2085020"/>
                <a:gd name="connsiteX14" fmla="*/ 1226453 w 2153776"/>
                <a:gd name="connsiteY14" fmla="*/ 1442794 h 2085020"/>
                <a:gd name="connsiteX15" fmla="*/ 1799218 w 2153776"/>
                <a:gd name="connsiteY15" fmla="*/ 1442794 h 2085020"/>
                <a:gd name="connsiteX16" fmla="*/ 2008768 w 2153776"/>
                <a:gd name="connsiteY16" fmla="*/ 1023694 h 2085020"/>
                <a:gd name="connsiteX17" fmla="*/ 1799218 w 2153776"/>
                <a:gd name="connsiteY17" fmla="*/ 604594 h 2085020"/>
                <a:gd name="connsiteX18" fmla="*/ 561193 w 2153776"/>
                <a:gd name="connsiteY18" fmla="*/ 155209 h 2085020"/>
                <a:gd name="connsiteX19" fmla="*/ 561193 w 2153776"/>
                <a:gd name="connsiteY19" fmla="*/ 421907 h 2085020"/>
                <a:gd name="connsiteX20" fmla="*/ 294495 w 2153776"/>
                <a:gd name="connsiteY20" fmla="*/ 421907 h 2085020"/>
                <a:gd name="connsiteX21" fmla="*/ 294495 w 2153776"/>
                <a:gd name="connsiteY21" fmla="*/ 623841 h 2085020"/>
                <a:gd name="connsiteX22" fmla="*/ 561193 w 2153776"/>
                <a:gd name="connsiteY22" fmla="*/ 623841 h 2085020"/>
                <a:gd name="connsiteX23" fmla="*/ 561193 w 2153776"/>
                <a:gd name="connsiteY23" fmla="*/ 890539 h 2085020"/>
                <a:gd name="connsiteX24" fmla="*/ 759317 w 2153776"/>
                <a:gd name="connsiteY24" fmla="*/ 890539 h 2085020"/>
                <a:gd name="connsiteX25" fmla="*/ 759317 w 2153776"/>
                <a:gd name="connsiteY25" fmla="*/ 623841 h 2085020"/>
                <a:gd name="connsiteX26" fmla="*/ 1026015 w 2153776"/>
                <a:gd name="connsiteY26" fmla="*/ 623841 h 2085020"/>
                <a:gd name="connsiteX27" fmla="*/ 1026015 w 2153776"/>
                <a:gd name="connsiteY27" fmla="*/ 421907 h 2085020"/>
                <a:gd name="connsiteX28" fmla="*/ 759317 w 2153776"/>
                <a:gd name="connsiteY28" fmla="*/ 421907 h 2085020"/>
                <a:gd name="connsiteX29" fmla="*/ 759317 w 2153776"/>
                <a:gd name="connsiteY29" fmla="*/ 155209 h 2085020"/>
                <a:gd name="connsiteX30" fmla="*/ 270821 w 2153776"/>
                <a:gd name="connsiteY30" fmla="*/ 0 h 2085020"/>
                <a:gd name="connsiteX31" fmla="*/ 1011059 w 2153776"/>
                <a:gd name="connsiteY31" fmla="*/ 0 h 2085020"/>
                <a:gd name="connsiteX32" fmla="*/ 1262074 w 2153776"/>
                <a:gd name="connsiteY32" fmla="*/ 502029 h 2085020"/>
                <a:gd name="connsiteX33" fmla="*/ 1882955 w 2153776"/>
                <a:gd name="connsiteY33" fmla="*/ 502029 h 2085020"/>
                <a:gd name="connsiteX34" fmla="*/ 2153776 w 2153776"/>
                <a:gd name="connsiteY34" fmla="*/ 1043671 h 2085020"/>
                <a:gd name="connsiteX35" fmla="*/ 1882955 w 2153776"/>
                <a:gd name="connsiteY35" fmla="*/ 1585313 h 2085020"/>
                <a:gd name="connsiteX36" fmla="*/ 1261153 w 2153776"/>
                <a:gd name="connsiteY36" fmla="*/ 1585313 h 2085020"/>
                <a:gd name="connsiteX37" fmla="*/ 1011299 w 2153776"/>
                <a:gd name="connsiteY37" fmla="*/ 2085020 h 2085020"/>
                <a:gd name="connsiteX38" fmla="*/ 271061 w 2153776"/>
                <a:gd name="connsiteY38" fmla="*/ 2085020 h 2085020"/>
                <a:gd name="connsiteX39" fmla="*/ 240 w 2153776"/>
                <a:gd name="connsiteY39" fmla="*/ 1543378 h 2085020"/>
                <a:gd name="connsiteX40" fmla="*/ 250554 w 2153776"/>
                <a:gd name="connsiteY40" fmla="*/ 1042750 h 2085020"/>
                <a:gd name="connsiteX41" fmla="*/ 0 w 2153776"/>
                <a:gd name="connsiteY41" fmla="*/ 541642 h 208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153776" h="2085020">
                  <a:moveTo>
                    <a:pt x="351753" y="1122366"/>
                  </a:moveTo>
                  <a:lnTo>
                    <a:pt x="142203" y="1541466"/>
                  </a:lnTo>
                  <a:lnTo>
                    <a:pt x="351753" y="1960566"/>
                  </a:lnTo>
                  <a:lnTo>
                    <a:pt x="924518" y="1960566"/>
                  </a:lnTo>
                  <a:lnTo>
                    <a:pt x="1134068" y="1541466"/>
                  </a:lnTo>
                  <a:lnTo>
                    <a:pt x="924518" y="1122366"/>
                  </a:lnTo>
                  <a:close/>
                  <a:moveTo>
                    <a:pt x="1388075" y="815802"/>
                  </a:moveTo>
                  <a:lnTo>
                    <a:pt x="1699492" y="815802"/>
                  </a:lnTo>
                  <a:lnTo>
                    <a:pt x="1813426" y="1043671"/>
                  </a:lnTo>
                  <a:lnTo>
                    <a:pt x="1699492" y="1271540"/>
                  </a:lnTo>
                  <a:lnTo>
                    <a:pt x="1388075" y="1271540"/>
                  </a:lnTo>
                  <a:lnTo>
                    <a:pt x="1274140" y="1043671"/>
                  </a:lnTo>
                  <a:close/>
                  <a:moveTo>
                    <a:pt x="1226453" y="604594"/>
                  </a:moveTo>
                  <a:lnTo>
                    <a:pt x="1016903" y="1023694"/>
                  </a:lnTo>
                  <a:lnTo>
                    <a:pt x="1226453" y="1442794"/>
                  </a:lnTo>
                  <a:lnTo>
                    <a:pt x="1799218" y="1442794"/>
                  </a:lnTo>
                  <a:lnTo>
                    <a:pt x="2008768" y="1023694"/>
                  </a:lnTo>
                  <a:lnTo>
                    <a:pt x="1799218" y="604594"/>
                  </a:lnTo>
                  <a:close/>
                  <a:moveTo>
                    <a:pt x="561193" y="155209"/>
                  </a:moveTo>
                  <a:lnTo>
                    <a:pt x="561193" y="421907"/>
                  </a:lnTo>
                  <a:lnTo>
                    <a:pt x="294495" y="421907"/>
                  </a:lnTo>
                  <a:lnTo>
                    <a:pt x="294495" y="623841"/>
                  </a:lnTo>
                  <a:lnTo>
                    <a:pt x="561193" y="623841"/>
                  </a:lnTo>
                  <a:lnTo>
                    <a:pt x="561193" y="890539"/>
                  </a:lnTo>
                  <a:lnTo>
                    <a:pt x="759317" y="890539"/>
                  </a:lnTo>
                  <a:lnTo>
                    <a:pt x="759317" y="623841"/>
                  </a:lnTo>
                  <a:lnTo>
                    <a:pt x="1026015" y="623841"/>
                  </a:lnTo>
                  <a:lnTo>
                    <a:pt x="1026015" y="421907"/>
                  </a:lnTo>
                  <a:lnTo>
                    <a:pt x="759317" y="421907"/>
                  </a:lnTo>
                  <a:lnTo>
                    <a:pt x="759317" y="155209"/>
                  </a:lnTo>
                  <a:close/>
                  <a:moveTo>
                    <a:pt x="270821" y="0"/>
                  </a:moveTo>
                  <a:lnTo>
                    <a:pt x="1011059" y="0"/>
                  </a:lnTo>
                  <a:lnTo>
                    <a:pt x="1262074" y="502029"/>
                  </a:lnTo>
                  <a:lnTo>
                    <a:pt x="1882955" y="502029"/>
                  </a:lnTo>
                  <a:lnTo>
                    <a:pt x="2153776" y="1043671"/>
                  </a:lnTo>
                  <a:lnTo>
                    <a:pt x="1882955" y="1585313"/>
                  </a:lnTo>
                  <a:lnTo>
                    <a:pt x="1261153" y="1585313"/>
                  </a:lnTo>
                  <a:lnTo>
                    <a:pt x="1011299" y="2085020"/>
                  </a:lnTo>
                  <a:lnTo>
                    <a:pt x="271061" y="2085020"/>
                  </a:lnTo>
                  <a:lnTo>
                    <a:pt x="240" y="1543378"/>
                  </a:lnTo>
                  <a:lnTo>
                    <a:pt x="250554" y="1042750"/>
                  </a:lnTo>
                  <a:lnTo>
                    <a:pt x="0" y="54164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2" name="Active Directory Name"/>
            <p:cNvSpPr txBox="1"/>
            <p:nvPr/>
          </p:nvSpPr>
          <p:spPr>
            <a:xfrm>
              <a:off x="391493" y="5590971"/>
              <a:ext cx="1087401"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ACTIVE DIRECTORY</a:t>
              </a:r>
              <a:endParaRPr lang="en-US" sz="650" dirty="0">
                <a:solidFill>
                  <a:srgbClr val="FFFFFF"/>
                </a:solidFill>
                <a:latin typeface="Segoe UI" panose="020B0502040204020203" pitchFamily="34" charset="0"/>
                <a:cs typeface="Segoe UI" panose="020B0502040204020203" pitchFamily="34" charset="0"/>
              </a:endParaRPr>
            </a:p>
          </p:txBody>
        </p:sp>
        <p:sp>
          <p:nvSpPr>
            <p:cNvPr id="13" name="Active Directory Icon"/>
            <p:cNvSpPr>
              <a:spLocks noChangeAspect="1"/>
            </p:cNvSpPr>
            <p:nvPr/>
          </p:nvSpPr>
          <p:spPr>
            <a:xfrm>
              <a:off x="95915" y="5612799"/>
              <a:ext cx="240271" cy="250310"/>
            </a:xfrm>
            <a:custGeom>
              <a:avLst/>
              <a:gdLst>
                <a:gd name="connsiteX0" fmla="*/ 227817 w 430087"/>
                <a:gd name="connsiteY0" fmla="*/ 190781 h 448056"/>
                <a:gd name="connsiteX1" fmla="*/ 278783 w 430087"/>
                <a:gd name="connsiteY1" fmla="*/ 246846 h 448056"/>
                <a:gd name="connsiteX2" fmla="*/ 276735 w 430087"/>
                <a:gd name="connsiteY2" fmla="*/ 256988 h 448056"/>
                <a:gd name="connsiteX3" fmla="*/ 277791 w 430087"/>
                <a:gd name="connsiteY3" fmla="*/ 262217 h 448056"/>
                <a:gd name="connsiteX4" fmla="*/ 224432 w 430087"/>
                <a:gd name="connsiteY4" fmla="*/ 306139 h 448056"/>
                <a:gd name="connsiteX5" fmla="*/ 221132 w 430087"/>
                <a:gd name="connsiteY5" fmla="*/ 305472 h 448056"/>
                <a:gd name="connsiteX6" fmla="*/ 221132 w 430087"/>
                <a:gd name="connsiteY6" fmla="*/ 192687 h 448056"/>
                <a:gd name="connsiteX7" fmla="*/ 221938 w 430087"/>
                <a:gd name="connsiteY7" fmla="*/ 192605 h 448056"/>
                <a:gd name="connsiteX8" fmla="*/ 197960 w 430087"/>
                <a:gd name="connsiteY8" fmla="*/ 188072 h 448056"/>
                <a:gd name="connsiteX9" fmla="*/ 201727 w 430087"/>
                <a:gd name="connsiteY9" fmla="*/ 190612 h 448056"/>
                <a:gd name="connsiteX10" fmla="*/ 203867 w 430087"/>
                <a:gd name="connsiteY10" fmla="*/ 191276 h 448056"/>
                <a:gd name="connsiteX11" fmla="*/ 203867 w 430087"/>
                <a:gd name="connsiteY11" fmla="*/ 306873 h 448056"/>
                <a:gd name="connsiteX12" fmla="*/ 155627 w 430087"/>
                <a:gd name="connsiteY12" fmla="*/ 267164 h 448056"/>
                <a:gd name="connsiteX13" fmla="*/ 156887 w 430087"/>
                <a:gd name="connsiteY13" fmla="*/ 263103 h 448056"/>
                <a:gd name="connsiteX14" fmla="*/ 157504 w 430087"/>
                <a:gd name="connsiteY14" fmla="*/ 256988 h 448056"/>
                <a:gd name="connsiteX15" fmla="*/ 155119 w 430087"/>
                <a:gd name="connsiteY15" fmla="*/ 245177 h 448056"/>
                <a:gd name="connsiteX16" fmla="*/ 151257 w 430087"/>
                <a:gd name="connsiteY16" fmla="*/ 239449 h 448056"/>
                <a:gd name="connsiteX17" fmla="*/ 215044 w 430087"/>
                <a:gd name="connsiteY17" fmla="*/ 124878 h 448056"/>
                <a:gd name="connsiteX18" fmla="*/ 180833 w 430087"/>
                <a:gd name="connsiteY18" fmla="*/ 159089 h 448056"/>
                <a:gd name="connsiteX19" fmla="*/ 183521 w 430087"/>
                <a:gd name="connsiteY19" fmla="*/ 172406 h 448056"/>
                <a:gd name="connsiteX20" fmla="*/ 185798 w 430087"/>
                <a:gd name="connsiteY20" fmla="*/ 175783 h 448056"/>
                <a:gd name="connsiteX21" fmla="*/ 137742 w 430087"/>
                <a:gd name="connsiteY21" fmla="*/ 228648 h 448056"/>
                <a:gd name="connsiteX22" fmla="*/ 133277 w 430087"/>
                <a:gd name="connsiteY22" fmla="*/ 227262 h 448056"/>
                <a:gd name="connsiteX23" fmla="*/ 127161 w 430087"/>
                <a:gd name="connsiteY23" fmla="*/ 226646 h 448056"/>
                <a:gd name="connsiteX24" fmla="*/ 96819 w 430087"/>
                <a:gd name="connsiteY24" fmla="*/ 256988 h 448056"/>
                <a:gd name="connsiteX25" fmla="*/ 127161 w 430087"/>
                <a:gd name="connsiteY25" fmla="*/ 287331 h 448056"/>
                <a:gd name="connsiteX26" fmla="*/ 138972 w 430087"/>
                <a:gd name="connsiteY26" fmla="*/ 284946 h 448056"/>
                <a:gd name="connsiteX27" fmla="*/ 145069 w 430087"/>
                <a:gd name="connsiteY27" fmla="*/ 280836 h 448056"/>
                <a:gd name="connsiteX28" fmla="*/ 191749 w 430087"/>
                <a:gd name="connsiteY28" fmla="*/ 319260 h 448056"/>
                <a:gd name="connsiteX29" fmla="*/ 191233 w 430087"/>
                <a:gd name="connsiteY29" fmla="*/ 320026 h 448056"/>
                <a:gd name="connsiteX30" fmla="*/ 189202 w 430087"/>
                <a:gd name="connsiteY30" fmla="*/ 330085 h 448056"/>
                <a:gd name="connsiteX31" fmla="*/ 215044 w 430087"/>
                <a:gd name="connsiteY31" fmla="*/ 355926 h 448056"/>
                <a:gd name="connsiteX32" fmla="*/ 240885 w 430087"/>
                <a:gd name="connsiteY32" fmla="*/ 330085 h 448056"/>
                <a:gd name="connsiteX33" fmla="*/ 238855 w 430087"/>
                <a:gd name="connsiteY33" fmla="*/ 320026 h 448056"/>
                <a:gd name="connsiteX34" fmla="*/ 237382 w 430087"/>
                <a:gd name="connsiteY34" fmla="*/ 317841 h 448056"/>
                <a:gd name="connsiteX35" fmla="*/ 285487 w 430087"/>
                <a:gd name="connsiteY35" fmla="*/ 278244 h 448056"/>
                <a:gd name="connsiteX36" fmla="*/ 285622 w 430087"/>
                <a:gd name="connsiteY36" fmla="*/ 278444 h 448056"/>
                <a:gd name="connsiteX37" fmla="*/ 307078 w 430087"/>
                <a:gd name="connsiteY37" fmla="*/ 287331 h 448056"/>
                <a:gd name="connsiteX38" fmla="*/ 337420 w 430087"/>
                <a:gd name="connsiteY38" fmla="*/ 256988 h 448056"/>
                <a:gd name="connsiteX39" fmla="*/ 307078 w 430087"/>
                <a:gd name="connsiteY39" fmla="*/ 226646 h 448056"/>
                <a:gd name="connsiteX40" fmla="*/ 295267 w 430087"/>
                <a:gd name="connsiteY40" fmla="*/ 229030 h 448056"/>
                <a:gd name="connsiteX41" fmla="*/ 289471 w 430087"/>
                <a:gd name="connsiteY41" fmla="*/ 232937 h 448056"/>
                <a:gd name="connsiteX42" fmla="*/ 241405 w 430087"/>
                <a:gd name="connsiteY42" fmla="*/ 180061 h 448056"/>
                <a:gd name="connsiteX43" fmla="*/ 246566 w 430087"/>
                <a:gd name="connsiteY43" fmla="*/ 172406 h 448056"/>
                <a:gd name="connsiteX44" fmla="*/ 249255 w 430087"/>
                <a:gd name="connsiteY44" fmla="*/ 159089 h 448056"/>
                <a:gd name="connsiteX45" fmla="*/ 215044 w 430087"/>
                <a:gd name="connsiteY45" fmla="*/ 124878 h 448056"/>
                <a:gd name="connsiteX46" fmla="*/ 215044 w 430087"/>
                <a:gd name="connsiteY46" fmla="*/ 0 h 448056"/>
                <a:gd name="connsiteX47" fmla="*/ 430087 w 430087"/>
                <a:gd name="connsiteY47" fmla="*/ 270047 h 448056"/>
                <a:gd name="connsiteX48" fmla="*/ 215044 w 430087"/>
                <a:gd name="connsiteY48" fmla="*/ 448056 h 448056"/>
                <a:gd name="connsiteX49" fmla="*/ 0 w 430087"/>
                <a:gd name="connsiteY49" fmla="*/ 270047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30087" h="448056">
                  <a:moveTo>
                    <a:pt x="227817" y="190781"/>
                  </a:moveTo>
                  <a:lnTo>
                    <a:pt x="278783" y="246846"/>
                  </a:lnTo>
                  <a:lnTo>
                    <a:pt x="276735" y="256988"/>
                  </a:lnTo>
                  <a:lnTo>
                    <a:pt x="277791" y="262217"/>
                  </a:lnTo>
                  <a:lnTo>
                    <a:pt x="224432" y="306139"/>
                  </a:lnTo>
                  <a:lnTo>
                    <a:pt x="221132" y="305472"/>
                  </a:lnTo>
                  <a:lnTo>
                    <a:pt x="221132" y="192687"/>
                  </a:lnTo>
                  <a:lnTo>
                    <a:pt x="221938" y="192605"/>
                  </a:lnTo>
                  <a:close/>
                  <a:moveTo>
                    <a:pt x="197960" y="188072"/>
                  </a:moveTo>
                  <a:lnTo>
                    <a:pt x="201727" y="190612"/>
                  </a:lnTo>
                  <a:lnTo>
                    <a:pt x="203867" y="191276"/>
                  </a:lnTo>
                  <a:lnTo>
                    <a:pt x="203867" y="306873"/>
                  </a:lnTo>
                  <a:lnTo>
                    <a:pt x="155627" y="267164"/>
                  </a:lnTo>
                  <a:lnTo>
                    <a:pt x="156887" y="263103"/>
                  </a:lnTo>
                  <a:cubicBezTo>
                    <a:pt x="157292" y="261128"/>
                    <a:pt x="157504" y="259083"/>
                    <a:pt x="157504" y="256988"/>
                  </a:cubicBezTo>
                  <a:cubicBezTo>
                    <a:pt x="157504" y="252799"/>
                    <a:pt x="156655" y="248808"/>
                    <a:pt x="155119" y="245177"/>
                  </a:cubicBezTo>
                  <a:lnTo>
                    <a:pt x="151257" y="239449"/>
                  </a:lnTo>
                  <a:close/>
                  <a:moveTo>
                    <a:pt x="215044" y="124878"/>
                  </a:moveTo>
                  <a:cubicBezTo>
                    <a:pt x="196150" y="124878"/>
                    <a:pt x="180833" y="140195"/>
                    <a:pt x="180833" y="159089"/>
                  </a:cubicBezTo>
                  <a:cubicBezTo>
                    <a:pt x="180833" y="163813"/>
                    <a:pt x="181790" y="168313"/>
                    <a:pt x="183521" y="172406"/>
                  </a:cubicBezTo>
                  <a:lnTo>
                    <a:pt x="185798" y="175783"/>
                  </a:lnTo>
                  <a:lnTo>
                    <a:pt x="137742" y="228648"/>
                  </a:lnTo>
                  <a:lnTo>
                    <a:pt x="133277" y="227262"/>
                  </a:lnTo>
                  <a:cubicBezTo>
                    <a:pt x="131301" y="226858"/>
                    <a:pt x="129256" y="226646"/>
                    <a:pt x="127161" y="226646"/>
                  </a:cubicBezTo>
                  <a:cubicBezTo>
                    <a:pt x="110404" y="226646"/>
                    <a:pt x="96819" y="240230"/>
                    <a:pt x="96819" y="256988"/>
                  </a:cubicBezTo>
                  <a:cubicBezTo>
                    <a:pt x="96819" y="273746"/>
                    <a:pt x="110404" y="287331"/>
                    <a:pt x="127161" y="287331"/>
                  </a:cubicBezTo>
                  <a:cubicBezTo>
                    <a:pt x="131351" y="287331"/>
                    <a:pt x="135342" y="286482"/>
                    <a:pt x="138972" y="284946"/>
                  </a:cubicBezTo>
                  <a:lnTo>
                    <a:pt x="145069" y="280836"/>
                  </a:lnTo>
                  <a:lnTo>
                    <a:pt x="191749" y="319260"/>
                  </a:lnTo>
                  <a:lnTo>
                    <a:pt x="191233" y="320026"/>
                  </a:lnTo>
                  <a:cubicBezTo>
                    <a:pt x="189925" y="323118"/>
                    <a:pt x="189202" y="326517"/>
                    <a:pt x="189202" y="330085"/>
                  </a:cubicBezTo>
                  <a:cubicBezTo>
                    <a:pt x="189202" y="344357"/>
                    <a:pt x="200772" y="355926"/>
                    <a:pt x="215044" y="355926"/>
                  </a:cubicBezTo>
                  <a:cubicBezTo>
                    <a:pt x="229316" y="355926"/>
                    <a:pt x="240885" y="344357"/>
                    <a:pt x="240885" y="330085"/>
                  </a:cubicBezTo>
                  <a:cubicBezTo>
                    <a:pt x="240885" y="326517"/>
                    <a:pt x="240162" y="323118"/>
                    <a:pt x="238855" y="320026"/>
                  </a:cubicBezTo>
                  <a:lnTo>
                    <a:pt x="237382" y="317841"/>
                  </a:lnTo>
                  <a:lnTo>
                    <a:pt x="285487" y="278244"/>
                  </a:lnTo>
                  <a:lnTo>
                    <a:pt x="285622" y="278444"/>
                  </a:lnTo>
                  <a:cubicBezTo>
                    <a:pt x="291113" y="283935"/>
                    <a:pt x="298699" y="287331"/>
                    <a:pt x="307078" y="287331"/>
                  </a:cubicBezTo>
                  <a:cubicBezTo>
                    <a:pt x="323835" y="287331"/>
                    <a:pt x="337420" y="273746"/>
                    <a:pt x="337420" y="256988"/>
                  </a:cubicBezTo>
                  <a:cubicBezTo>
                    <a:pt x="337420" y="240230"/>
                    <a:pt x="323835" y="226646"/>
                    <a:pt x="307078" y="226646"/>
                  </a:cubicBezTo>
                  <a:cubicBezTo>
                    <a:pt x="302888" y="226646"/>
                    <a:pt x="298897" y="227495"/>
                    <a:pt x="295267" y="229030"/>
                  </a:cubicBezTo>
                  <a:lnTo>
                    <a:pt x="289471" y="232937"/>
                  </a:lnTo>
                  <a:lnTo>
                    <a:pt x="241405" y="180061"/>
                  </a:lnTo>
                  <a:lnTo>
                    <a:pt x="246566" y="172406"/>
                  </a:lnTo>
                  <a:cubicBezTo>
                    <a:pt x="248298" y="168313"/>
                    <a:pt x="249255" y="163813"/>
                    <a:pt x="249255" y="159089"/>
                  </a:cubicBezTo>
                  <a:cubicBezTo>
                    <a:pt x="249255" y="140195"/>
                    <a:pt x="233938" y="124878"/>
                    <a:pt x="215044" y="124878"/>
                  </a:cubicBezTo>
                  <a:close/>
                  <a:moveTo>
                    <a:pt x="215044" y="0"/>
                  </a:moveTo>
                  <a:lnTo>
                    <a:pt x="430087" y="270047"/>
                  </a:lnTo>
                  <a:lnTo>
                    <a:pt x="215044" y="448056"/>
                  </a:lnTo>
                  <a:lnTo>
                    <a:pt x="0" y="270047"/>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4" name="Management Services Name"/>
            <p:cNvSpPr txBox="1"/>
            <p:nvPr/>
          </p:nvSpPr>
          <p:spPr>
            <a:xfrm>
              <a:off x="391493" y="5229569"/>
              <a:ext cx="1087401"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MANAGEMENT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15" name="Management Services Icon"/>
            <p:cNvSpPr>
              <a:spLocks noChangeAspect="1"/>
            </p:cNvSpPr>
            <p:nvPr/>
          </p:nvSpPr>
          <p:spPr>
            <a:xfrm>
              <a:off x="86064" y="5280812"/>
              <a:ext cx="259973" cy="198608"/>
            </a:xfrm>
            <a:custGeom>
              <a:avLst/>
              <a:gdLst>
                <a:gd name="connsiteX0" fmla="*/ 150263 w 448056"/>
                <a:gd name="connsiteY0" fmla="*/ 146018 h 342296"/>
                <a:gd name="connsiteX1" fmla="*/ 392835 w 448056"/>
                <a:gd name="connsiteY1" fmla="*/ 146018 h 342296"/>
                <a:gd name="connsiteX2" fmla="*/ 392835 w 448056"/>
                <a:gd name="connsiteY2" fmla="*/ 291034 h 342296"/>
                <a:gd name="connsiteX3" fmla="*/ 375392 w 448056"/>
                <a:gd name="connsiteY3" fmla="*/ 291034 h 342296"/>
                <a:gd name="connsiteX4" fmla="*/ 375392 w 448056"/>
                <a:gd name="connsiteY4" fmla="*/ 181587 h 342296"/>
                <a:gd name="connsiteX5" fmla="*/ 359580 w 448056"/>
                <a:gd name="connsiteY5" fmla="*/ 181587 h 342296"/>
                <a:gd name="connsiteX6" fmla="*/ 359580 w 448056"/>
                <a:gd name="connsiteY6" fmla="*/ 291034 h 342296"/>
                <a:gd name="connsiteX7" fmla="*/ 337190 w 448056"/>
                <a:gd name="connsiteY7" fmla="*/ 291034 h 342296"/>
                <a:gd name="connsiteX8" fmla="*/ 337190 w 448056"/>
                <a:gd name="connsiteY8" fmla="*/ 217552 h 342296"/>
                <a:gd name="connsiteX9" fmla="*/ 321377 w 448056"/>
                <a:gd name="connsiteY9" fmla="*/ 217552 h 342296"/>
                <a:gd name="connsiteX10" fmla="*/ 321377 w 448056"/>
                <a:gd name="connsiteY10" fmla="*/ 291034 h 342296"/>
                <a:gd name="connsiteX11" fmla="*/ 301127 w 448056"/>
                <a:gd name="connsiteY11" fmla="*/ 291034 h 342296"/>
                <a:gd name="connsiteX12" fmla="*/ 301127 w 448056"/>
                <a:gd name="connsiteY12" fmla="*/ 205318 h 342296"/>
                <a:gd name="connsiteX13" fmla="*/ 285314 w 448056"/>
                <a:gd name="connsiteY13" fmla="*/ 205318 h 342296"/>
                <a:gd name="connsiteX14" fmla="*/ 285314 w 448056"/>
                <a:gd name="connsiteY14" fmla="*/ 291034 h 342296"/>
                <a:gd name="connsiteX15" fmla="*/ 262597 w 448056"/>
                <a:gd name="connsiteY15" fmla="*/ 291034 h 342296"/>
                <a:gd name="connsiteX16" fmla="*/ 262597 w 448056"/>
                <a:gd name="connsiteY16" fmla="*/ 251876 h 342296"/>
                <a:gd name="connsiteX17" fmla="*/ 246784 w 448056"/>
                <a:gd name="connsiteY17" fmla="*/ 251876 h 342296"/>
                <a:gd name="connsiteX18" fmla="*/ 246784 w 448056"/>
                <a:gd name="connsiteY18" fmla="*/ 291034 h 342296"/>
                <a:gd name="connsiteX19" fmla="*/ 225824 w 448056"/>
                <a:gd name="connsiteY19" fmla="*/ 291034 h 342296"/>
                <a:gd name="connsiteX20" fmla="*/ 225824 w 448056"/>
                <a:gd name="connsiteY20" fmla="*/ 169495 h 342296"/>
                <a:gd name="connsiteX21" fmla="*/ 210012 w 448056"/>
                <a:gd name="connsiteY21" fmla="*/ 169495 h 342296"/>
                <a:gd name="connsiteX22" fmla="*/ 210012 w 448056"/>
                <a:gd name="connsiteY22" fmla="*/ 291034 h 342296"/>
                <a:gd name="connsiteX23" fmla="*/ 188618 w 448056"/>
                <a:gd name="connsiteY23" fmla="*/ 291034 h 342296"/>
                <a:gd name="connsiteX24" fmla="*/ 188618 w 448056"/>
                <a:gd name="connsiteY24" fmla="*/ 205318 h 342296"/>
                <a:gd name="connsiteX25" fmla="*/ 172805 w 448056"/>
                <a:gd name="connsiteY25" fmla="*/ 205318 h 342296"/>
                <a:gd name="connsiteX26" fmla="*/ 172805 w 448056"/>
                <a:gd name="connsiteY26" fmla="*/ 291034 h 342296"/>
                <a:gd name="connsiteX27" fmla="*/ 150263 w 448056"/>
                <a:gd name="connsiteY27" fmla="*/ 291034 h 342296"/>
                <a:gd name="connsiteX28" fmla="*/ 362452 w 448056"/>
                <a:gd name="connsiteY28" fmla="*/ 71404 h 342296"/>
                <a:gd name="connsiteX29" fmla="*/ 347879 w 448056"/>
                <a:gd name="connsiteY29" fmla="*/ 85976 h 342296"/>
                <a:gd name="connsiteX30" fmla="*/ 362452 w 448056"/>
                <a:gd name="connsiteY30" fmla="*/ 100549 h 342296"/>
                <a:gd name="connsiteX31" fmla="*/ 377024 w 448056"/>
                <a:gd name="connsiteY31" fmla="*/ 85976 h 342296"/>
                <a:gd name="connsiteX32" fmla="*/ 362452 w 448056"/>
                <a:gd name="connsiteY32" fmla="*/ 71404 h 342296"/>
                <a:gd name="connsiteX33" fmla="*/ 302256 w 448056"/>
                <a:gd name="connsiteY33" fmla="*/ 71404 h 342296"/>
                <a:gd name="connsiteX34" fmla="*/ 287684 w 448056"/>
                <a:gd name="connsiteY34" fmla="*/ 85976 h 342296"/>
                <a:gd name="connsiteX35" fmla="*/ 302256 w 448056"/>
                <a:gd name="connsiteY35" fmla="*/ 100549 h 342296"/>
                <a:gd name="connsiteX36" fmla="*/ 316828 w 448056"/>
                <a:gd name="connsiteY36" fmla="*/ 85976 h 342296"/>
                <a:gd name="connsiteX37" fmla="*/ 302256 w 448056"/>
                <a:gd name="connsiteY37" fmla="*/ 71404 h 342296"/>
                <a:gd name="connsiteX38" fmla="*/ 242060 w 448056"/>
                <a:gd name="connsiteY38" fmla="*/ 71404 h 342296"/>
                <a:gd name="connsiteX39" fmla="*/ 227488 w 448056"/>
                <a:gd name="connsiteY39" fmla="*/ 85976 h 342296"/>
                <a:gd name="connsiteX40" fmla="*/ 242060 w 448056"/>
                <a:gd name="connsiteY40" fmla="*/ 100549 h 342296"/>
                <a:gd name="connsiteX41" fmla="*/ 256632 w 448056"/>
                <a:gd name="connsiteY41" fmla="*/ 85976 h 342296"/>
                <a:gd name="connsiteX42" fmla="*/ 242060 w 448056"/>
                <a:gd name="connsiteY42" fmla="*/ 71404 h 342296"/>
                <a:gd name="connsiteX43" fmla="*/ 181864 w 448056"/>
                <a:gd name="connsiteY43" fmla="*/ 71404 h 342296"/>
                <a:gd name="connsiteX44" fmla="*/ 167292 w 448056"/>
                <a:gd name="connsiteY44" fmla="*/ 85976 h 342296"/>
                <a:gd name="connsiteX45" fmla="*/ 181864 w 448056"/>
                <a:gd name="connsiteY45" fmla="*/ 100549 h 342296"/>
                <a:gd name="connsiteX46" fmla="*/ 196436 w 448056"/>
                <a:gd name="connsiteY46" fmla="*/ 85976 h 342296"/>
                <a:gd name="connsiteX47" fmla="*/ 181864 w 448056"/>
                <a:gd name="connsiteY47" fmla="*/ 71404 h 342296"/>
                <a:gd name="connsiteX48" fmla="*/ 50831 w 448056"/>
                <a:gd name="connsiteY48" fmla="*/ 56884 h 342296"/>
                <a:gd name="connsiteX49" fmla="*/ 124251 w 448056"/>
                <a:gd name="connsiteY49" fmla="*/ 56884 h 342296"/>
                <a:gd name="connsiteX50" fmla="*/ 124251 w 448056"/>
                <a:gd name="connsiteY50" fmla="*/ 291034 h 342296"/>
                <a:gd name="connsiteX51" fmla="*/ 50831 w 448056"/>
                <a:gd name="connsiteY51" fmla="*/ 291034 h 342296"/>
                <a:gd name="connsiteX52" fmla="*/ 150263 w 448056"/>
                <a:gd name="connsiteY52" fmla="*/ 56884 h 342296"/>
                <a:gd name="connsiteX53" fmla="*/ 392835 w 448056"/>
                <a:gd name="connsiteY53" fmla="*/ 56884 h 342296"/>
                <a:gd name="connsiteX54" fmla="*/ 392835 w 448056"/>
                <a:gd name="connsiteY54" fmla="*/ 115069 h 342296"/>
                <a:gd name="connsiteX55" fmla="*/ 150263 w 448056"/>
                <a:gd name="connsiteY55" fmla="*/ 115069 h 342296"/>
                <a:gd name="connsiteX56" fmla="*/ 44709 w 448056"/>
                <a:gd name="connsiteY56" fmla="*/ 28111 h 342296"/>
                <a:gd name="connsiteX57" fmla="*/ 25164 w 448056"/>
                <a:gd name="connsiteY57" fmla="*/ 47656 h 342296"/>
                <a:gd name="connsiteX58" fmla="*/ 25164 w 448056"/>
                <a:gd name="connsiteY58" fmla="*/ 294640 h 342296"/>
                <a:gd name="connsiteX59" fmla="*/ 44709 w 448056"/>
                <a:gd name="connsiteY59" fmla="*/ 314185 h 342296"/>
                <a:gd name="connsiteX60" fmla="*/ 403348 w 448056"/>
                <a:gd name="connsiteY60" fmla="*/ 314185 h 342296"/>
                <a:gd name="connsiteX61" fmla="*/ 422892 w 448056"/>
                <a:gd name="connsiteY61" fmla="*/ 294640 h 342296"/>
                <a:gd name="connsiteX62" fmla="*/ 422892 w 448056"/>
                <a:gd name="connsiteY62" fmla="*/ 47656 h 342296"/>
                <a:gd name="connsiteX63" fmla="*/ 403348 w 448056"/>
                <a:gd name="connsiteY63" fmla="*/ 28111 h 342296"/>
                <a:gd name="connsiteX64" fmla="*/ 47128 w 448056"/>
                <a:gd name="connsiteY64" fmla="*/ 0 h 342296"/>
                <a:gd name="connsiteX65" fmla="*/ 400929 w 448056"/>
                <a:gd name="connsiteY65" fmla="*/ 0 h 342296"/>
                <a:gd name="connsiteX66" fmla="*/ 448056 w 448056"/>
                <a:gd name="connsiteY66" fmla="*/ 47128 h 342296"/>
                <a:gd name="connsiteX67" fmla="*/ 448056 w 448056"/>
                <a:gd name="connsiteY67" fmla="*/ 295169 h 342296"/>
                <a:gd name="connsiteX68" fmla="*/ 400929 w 448056"/>
                <a:gd name="connsiteY68" fmla="*/ 342296 h 342296"/>
                <a:gd name="connsiteX69" fmla="*/ 47128 w 448056"/>
                <a:gd name="connsiteY69" fmla="*/ 342296 h 342296"/>
                <a:gd name="connsiteX70" fmla="*/ 0 w 448056"/>
                <a:gd name="connsiteY70" fmla="*/ 295169 h 342296"/>
                <a:gd name="connsiteX71" fmla="*/ 0 w 448056"/>
                <a:gd name="connsiteY71" fmla="*/ 47128 h 342296"/>
                <a:gd name="connsiteX72" fmla="*/ 47128 w 448056"/>
                <a:gd name="connsiteY72" fmla="*/ 0 h 34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48056" h="342296">
                  <a:moveTo>
                    <a:pt x="150263" y="146018"/>
                  </a:moveTo>
                  <a:lnTo>
                    <a:pt x="392835" y="146018"/>
                  </a:lnTo>
                  <a:lnTo>
                    <a:pt x="392835" y="291034"/>
                  </a:lnTo>
                  <a:lnTo>
                    <a:pt x="375392" y="291034"/>
                  </a:lnTo>
                  <a:lnTo>
                    <a:pt x="375392" y="181587"/>
                  </a:lnTo>
                  <a:lnTo>
                    <a:pt x="359580" y="181587"/>
                  </a:lnTo>
                  <a:lnTo>
                    <a:pt x="359580" y="291034"/>
                  </a:lnTo>
                  <a:lnTo>
                    <a:pt x="337190" y="291034"/>
                  </a:lnTo>
                  <a:lnTo>
                    <a:pt x="337190" y="217552"/>
                  </a:lnTo>
                  <a:lnTo>
                    <a:pt x="321377" y="217552"/>
                  </a:lnTo>
                  <a:lnTo>
                    <a:pt x="321377" y="291034"/>
                  </a:lnTo>
                  <a:lnTo>
                    <a:pt x="301127" y="291034"/>
                  </a:lnTo>
                  <a:lnTo>
                    <a:pt x="301127" y="205318"/>
                  </a:lnTo>
                  <a:lnTo>
                    <a:pt x="285314" y="205318"/>
                  </a:lnTo>
                  <a:lnTo>
                    <a:pt x="285314" y="291034"/>
                  </a:lnTo>
                  <a:lnTo>
                    <a:pt x="262597" y="291034"/>
                  </a:lnTo>
                  <a:lnTo>
                    <a:pt x="262597" y="251876"/>
                  </a:lnTo>
                  <a:lnTo>
                    <a:pt x="246784" y="251876"/>
                  </a:lnTo>
                  <a:lnTo>
                    <a:pt x="246784" y="291034"/>
                  </a:lnTo>
                  <a:lnTo>
                    <a:pt x="225824" y="291034"/>
                  </a:lnTo>
                  <a:lnTo>
                    <a:pt x="225824" y="169495"/>
                  </a:lnTo>
                  <a:lnTo>
                    <a:pt x="210012" y="169495"/>
                  </a:lnTo>
                  <a:lnTo>
                    <a:pt x="210012" y="291034"/>
                  </a:lnTo>
                  <a:lnTo>
                    <a:pt x="188618" y="291034"/>
                  </a:lnTo>
                  <a:lnTo>
                    <a:pt x="188618" y="205318"/>
                  </a:lnTo>
                  <a:lnTo>
                    <a:pt x="172805" y="205318"/>
                  </a:lnTo>
                  <a:lnTo>
                    <a:pt x="172805" y="291034"/>
                  </a:lnTo>
                  <a:lnTo>
                    <a:pt x="150263" y="291034"/>
                  </a:lnTo>
                  <a:close/>
                  <a:moveTo>
                    <a:pt x="362452" y="71404"/>
                  </a:moveTo>
                  <a:cubicBezTo>
                    <a:pt x="354404" y="71404"/>
                    <a:pt x="347879" y="77928"/>
                    <a:pt x="347879" y="85976"/>
                  </a:cubicBezTo>
                  <a:cubicBezTo>
                    <a:pt x="347879" y="94024"/>
                    <a:pt x="354404" y="100549"/>
                    <a:pt x="362452" y="100549"/>
                  </a:cubicBezTo>
                  <a:cubicBezTo>
                    <a:pt x="370500" y="100549"/>
                    <a:pt x="377024" y="94024"/>
                    <a:pt x="377024" y="85976"/>
                  </a:cubicBezTo>
                  <a:cubicBezTo>
                    <a:pt x="377024" y="77928"/>
                    <a:pt x="370500" y="71404"/>
                    <a:pt x="362452" y="71404"/>
                  </a:cubicBezTo>
                  <a:close/>
                  <a:moveTo>
                    <a:pt x="302256" y="71404"/>
                  </a:moveTo>
                  <a:cubicBezTo>
                    <a:pt x="294208" y="71404"/>
                    <a:pt x="287684" y="77928"/>
                    <a:pt x="287684" y="85976"/>
                  </a:cubicBezTo>
                  <a:cubicBezTo>
                    <a:pt x="287684" y="94024"/>
                    <a:pt x="294208" y="100549"/>
                    <a:pt x="302256" y="100549"/>
                  </a:cubicBezTo>
                  <a:cubicBezTo>
                    <a:pt x="310304" y="100549"/>
                    <a:pt x="316828" y="94024"/>
                    <a:pt x="316828" y="85976"/>
                  </a:cubicBezTo>
                  <a:cubicBezTo>
                    <a:pt x="316828" y="77928"/>
                    <a:pt x="310304" y="71404"/>
                    <a:pt x="302256" y="71404"/>
                  </a:cubicBezTo>
                  <a:close/>
                  <a:moveTo>
                    <a:pt x="242060" y="71404"/>
                  </a:moveTo>
                  <a:cubicBezTo>
                    <a:pt x="234012" y="71404"/>
                    <a:pt x="227488" y="77928"/>
                    <a:pt x="227488" y="85976"/>
                  </a:cubicBezTo>
                  <a:cubicBezTo>
                    <a:pt x="227488" y="94024"/>
                    <a:pt x="234012" y="100549"/>
                    <a:pt x="242060" y="100549"/>
                  </a:cubicBezTo>
                  <a:cubicBezTo>
                    <a:pt x="250108" y="100549"/>
                    <a:pt x="256632" y="94024"/>
                    <a:pt x="256632" y="85976"/>
                  </a:cubicBezTo>
                  <a:cubicBezTo>
                    <a:pt x="256632" y="77928"/>
                    <a:pt x="250108" y="71404"/>
                    <a:pt x="242060" y="71404"/>
                  </a:cubicBezTo>
                  <a:close/>
                  <a:moveTo>
                    <a:pt x="181864" y="71404"/>
                  </a:moveTo>
                  <a:cubicBezTo>
                    <a:pt x="173816" y="71404"/>
                    <a:pt x="167292" y="77928"/>
                    <a:pt x="167292" y="85976"/>
                  </a:cubicBezTo>
                  <a:cubicBezTo>
                    <a:pt x="167292" y="94024"/>
                    <a:pt x="173816" y="100549"/>
                    <a:pt x="181864" y="100549"/>
                  </a:cubicBezTo>
                  <a:cubicBezTo>
                    <a:pt x="189912" y="100549"/>
                    <a:pt x="196436" y="94024"/>
                    <a:pt x="196436" y="85976"/>
                  </a:cubicBezTo>
                  <a:cubicBezTo>
                    <a:pt x="196436" y="77928"/>
                    <a:pt x="189912" y="71404"/>
                    <a:pt x="181864" y="71404"/>
                  </a:cubicBezTo>
                  <a:close/>
                  <a:moveTo>
                    <a:pt x="50831" y="56884"/>
                  </a:moveTo>
                  <a:lnTo>
                    <a:pt x="124251" y="56884"/>
                  </a:lnTo>
                  <a:lnTo>
                    <a:pt x="124251" y="291034"/>
                  </a:lnTo>
                  <a:lnTo>
                    <a:pt x="50831" y="291034"/>
                  </a:lnTo>
                  <a:close/>
                  <a:moveTo>
                    <a:pt x="150263" y="56884"/>
                  </a:moveTo>
                  <a:lnTo>
                    <a:pt x="392835" y="56884"/>
                  </a:lnTo>
                  <a:lnTo>
                    <a:pt x="392835" y="115069"/>
                  </a:lnTo>
                  <a:lnTo>
                    <a:pt x="150263" y="115069"/>
                  </a:lnTo>
                  <a:close/>
                  <a:moveTo>
                    <a:pt x="44709" y="28111"/>
                  </a:moveTo>
                  <a:cubicBezTo>
                    <a:pt x="33915" y="28111"/>
                    <a:pt x="25164" y="36862"/>
                    <a:pt x="25164" y="47656"/>
                  </a:cubicBezTo>
                  <a:lnTo>
                    <a:pt x="25164" y="294640"/>
                  </a:lnTo>
                  <a:cubicBezTo>
                    <a:pt x="25164" y="305434"/>
                    <a:pt x="33915" y="314185"/>
                    <a:pt x="44709" y="314185"/>
                  </a:cubicBezTo>
                  <a:lnTo>
                    <a:pt x="403348" y="314185"/>
                  </a:lnTo>
                  <a:cubicBezTo>
                    <a:pt x="414142" y="314185"/>
                    <a:pt x="422892" y="305434"/>
                    <a:pt x="422892" y="294640"/>
                  </a:cubicBezTo>
                  <a:lnTo>
                    <a:pt x="422892" y="47656"/>
                  </a:lnTo>
                  <a:cubicBezTo>
                    <a:pt x="422892" y="36862"/>
                    <a:pt x="414142" y="28111"/>
                    <a:pt x="403348" y="28111"/>
                  </a:cubicBezTo>
                  <a:close/>
                  <a:moveTo>
                    <a:pt x="47128" y="0"/>
                  </a:moveTo>
                  <a:lnTo>
                    <a:pt x="400929" y="0"/>
                  </a:lnTo>
                  <a:cubicBezTo>
                    <a:pt x="426956" y="0"/>
                    <a:pt x="448056" y="21100"/>
                    <a:pt x="448056" y="47128"/>
                  </a:cubicBezTo>
                  <a:lnTo>
                    <a:pt x="448056" y="295169"/>
                  </a:lnTo>
                  <a:cubicBezTo>
                    <a:pt x="448056" y="321196"/>
                    <a:pt x="426956" y="342296"/>
                    <a:pt x="400929" y="342296"/>
                  </a:cubicBezTo>
                  <a:lnTo>
                    <a:pt x="47128" y="342296"/>
                  </a:lnTo>
                  <a:cubicBezTo>
                    <a:pt x="21100" y="342296"/>
                    <a:pt x="0" y="321196"/>
                    <a:pt x="0" y="295169"/>
                  </a:cubicBezTo>
                  <a:lnTo>
                    <a:pt x="0" y="47128"/>
                  </a:lnTo>
                  <a:cubicBezTo>
                    <a:pt x="0" y="21100"/>
                    <a:pt x="21100" y="0"/>
                    <a:pt x="47128"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6" name="Traffic Manager Name"/>
            <p:cNvSpPr txBox="1"/>
            <p:nvPr/>
          </p:nvSpPr>
          <p:spPr>
            <a:xfrm>
              <a:off x="391485" y="4866549"/>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TRAFFIC MANAGER</a:t>
              </a:r>
              <a:endParaRPr lang="en-US" sz="650" dirty="0">
                <a:solidFill>
                  <a:srgbClr val="FFFFFF"/>
                </a:solidFill>
                <a:latin typeface="Segoe UI" panose="020B0502040204020203" pitchFamily="34" charset="0"/>
                <a:cs typeface="Segoe UI" panose="020B0502040204020203" pitchFamily="34" charset="0"/>
              </a:endParaRPr>
            </a:p>
          </p:txBody>
        </p:sp>
        <p:sp>
          <p:nvSpPr>
            <p:cNvPr id="17" name="Traffic Manager Icon"/>
            <p:cNvSpPr>
              <a:spLocks noChangeAspect="1"/>
            </p:cNvSpPr>
            <p:nvPr/>
          </p:nvSpPr>
          <p:spPr>
            <a:xfrm>
              <a:off x="92932" y="4891548"/>
              <a:ext cx="246237" cy="246237"/>
            </a:xfrm>
            <a:custGeom>
              <a:avLst/>
              <a:gdLst>
                <a:gd name="connsiteX0" fmla="*/ 619326 w 2114534"/>
                <a:gd name="connsiteY0" fmla="*/ 0 h 2114534"/>
                <a:gd name="connsiteX1" fmla="*/ 1495208 w 2114534"/>
                <a:gd name="connsiteY1" fmla="*/ 0 h 2114534"/>
                <a:gd name="connsiteX2" fmla="*/ 2114534 w 2114534"/>
                <a:gd name="connsiteY2" fmla="*/ 619326 h 2114534"/>
                <a:gd name="connsiteX3" fmla="*/ 2114534 w 2114534"/>
                <a:gd name="connsiteY3" fmla="*/ 1495208 h 2114534"/>
                <a:gd name="connsiteX4" fmla="*/ 2096995 w 2114534"/>
                <a:gd name="connsiteY4" fmla="*/ 1512747 h 2114534"/>
                <a:gd name="connsiteX5" fmla="*/ 1672823 w 2114534"/>
                <a:gd name="connsiteY5" fmla="*/ 1088575 h 2114534"/>
                <a:gd name="connsiteX6" fmla="*/ 1824272 w 2114534"/>
                <a:gd name="connsiteY6" fmla="*/ 937126 h 2114534"/>
                <a:gd name="connsiteX7" fmla="*/ 1345897 w 2114534"/>
                <a:gd name="connsiteY7" fmla="*/ 927641 h 2114534"/>
                <a:gd name="connsiteX8" fmla="*/ 1355382 w 2114534"/>
                <a:gd name="connsiteY8" fmla="*/ 1406016 h 2114534"/>
                <a:gd name="connsiteX9" fmla="*/ 1506831 w 2114534"/>
                <a:gd name="connsiteY9" fmla="*/ 1254567 h 2114534"/>
                <a:gd name="connsiteX10" fmla="*/ 1931003 w 2114534"/>
                <a:gd name="connsiteY10" fmla="*/ 1678739 h 2114534"/>
                <a:gd name="connsiteX11" fmla="*/ 1559272 w 2114534"/>
                <a:gd name="connsiteY11" fmla="*/ 2050471 h 2114534"/>
                <a:gd name="connsiteX12" fmla="*/ 920323 w 2114534"/>
                <a:gd name="connsiteY12" fmla="*/ 1411522 h 2114534"/>
                <a:gd name="connsiteX13" fmla="*/ 1026249 w 2114534"/>
                <a:gd name="connsiteY13" fmla="*/ 1305596 h 2114534"/>
                <a:gd name="connsiteX14" fmla="*/ 691664 w 2114534"/>
                <a:gd name="connsiteY14" fmla="*/ 1298962 h 2114534"/>
                <a:gd name="connsiteX15" fmla="*/ 698298 w 2114534"/>
                <a:gd name="connsiteY15" fmla="*/ 1633547 h 2114534"/>
                <a:gd name="connsiteX16" fmla="*/ 804224 w 2114534"/>
                <a:gd name="connsiteY16" fmla="*/ 1527621 h 2114534"/>
                <a:gd name="connsiteX17" fmla="*/ 1391138 w 2114534"/>
                <a:gd name="connsiteY17" fmla="*/ 2114534 h 2114534"/>
                <a:gd name="connsiteX18" fmla="*/ 619326 w 2114534"/>
                <a:gd name="connsiteY18" fmla="*/ 2114534 h 2114534"/>
                <a:gd name="connsiteX19" fmla="*/ 0 w 2114534"/>
                <a:gd name="connsiteY19" fmla="*/ 1495208 h 2114534"/>
                <a:gd name="connsiteX20" fmla="*/ 0 w 2114534"/>
                <a:gd name="connsiteY20" fmla="*/ 619326 h 2114534"/>
                <a:gd name="connsiteX21" fmla="*/ 215912 w 2114534"/>
                <a:gd name="connsiteY21" fmla="*/ 403415 h 2114534"/>
                <a:gd name="connsiteX22" fmla="*/ 707126 w 2114534"/>
                <a:gd name="connsiteY22" fmla="*/ 894629 h 2114534"/>
                <a:gd name="connsiteX23" fmla="*/ 482335 w 2114534"/>
                <a:gd name="connsiteY23" fmla="*/ 1119420 h 2114534"/>
                <a:gd name="connsiteX24" fmla="*/ 1192371 w 2114534"/>
                <a:gd name="connsiteY24" fmla="*/ 1133499 h 2114534"/>
                <a:gd name="connsiteX25" fmla="*/ 1178292 w 2114534"/>
                <a:gd name="connsiteY25" fmla="*/ 423462 h 2114534"/>
                <a:gd name="connsiteX26" fmla="*/ 953501 w 2114534"/>
                <a:gd name="connsiteY26" fmla="*/ 648253 h 2114534"/>
                <a:gd name="connsiteX27" fmla="*/ 462287 w 2114534"/>
                <a:gd name="connsiteY27" fmla="*/ 157039 h 211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14534" h="2114534">
                  <a:moveTo>
                    <a:pt x="619326" y="0"/>
                  </a:moveTo>
                  <a:lnTo>
                    <a:pt x="1495208" y="0"/>
                  </a:lnTo>
                  <a:lnTo>
                    <a:pt x="2114534" y="619326"/>
                  </a:lnTo>
                  <a:lnTo>
                    <a:pt x="2114534" y="1495208"/>
                  </a:lnTo>
                  <a:lnTo>
                    <a:pt x="2096995" y="1512747"/>
                  </a:lnTo>
                  <a:lnTo>
                    <a:pt x="1672823" y="1088575"/>
                  </a:lnTo>
                  <a:lnTo>
                    <a:pt x="1824272" y="937126"/>
                  </a:lnTo>
                  <a:lnTo>
                    <a:pt x="1345897" y="927641"/>
                  </a:lnTo>
                  <a:lnTo>
                    <a:pt x="1355382" y="1406016"/>
                  </a:lnTo>
                  <a:lnTo>
                    <a:pt x="1506831" y="1254567"/>
                  </a:lnTo>
                  <a:lnTo>
                    <a:pt x="1931003" y="1678739"/>
                  </a:lnTo>
                  <a:lnTo>
                    <a:pt x="1559272" y="2050471"/>
                  </a:lnTo>
                  <a:lnTo>
                    <a:pt x="920323" y="1411522"/>
                  </a:lnTo>
                  <a:lnTo>
                    <a:pt x="1026249" y="1305596"/>
                  </a:lnTo>
                  <a:lnTo>
                    <a:pt x="691664" y="1298962"/>
                  </a:lnTo>
                  <a:lnTo>
                    <a:pt x="698298" y="1633547"/>
                  </a:lnTo>
                  <a:lnTo>
                    <a:pt x="804224" y="1527621"/>
                  </a:lnTo>
                  <a:lnTo>
                    <a:pt x="1391138" y="2114534"/>
                  </a:lnTo>
                  <a:lnTo>
                    <a:pt x="619326" y="2114534"/>
                  </a:lnTo>
                  <a:lnTo>
                    <a:pt x="0" y="1495208"/>
                  </a:lnTo>
                  <a:lnTo>
                    <a:pt x="0" y="619326"/>
                  </a:lnTo>
                  <a:lnTo>
                    <a:pt x="215912" y="403415"/>
                  </a:lnTo>
                  <a:lnTo>
                    <a:pt x="707126" y="894629"/>
                  </a:lnTo>
                  <a:lnTo>
                    <a:pt x="482335" y="1119420"/>
                  </a:lnTo>
                  <a:lnTo>
                    <a:pt x="1192371" y="1133499"/>
                  </a:lnTo>
                  <a:lnTo>
                    <a:pt x="1178292" y="423462"/>
                  </a:lnTo>
                  <a:lnTo>
                    <a:pt x="953501" y="648253"/>
                  </a:lnTo>
                  <a:lnTo>
                    <a:pt x="462287" y="15703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8" name="Networks Name"/>
            <p:cNvSpPr txBox="1"/>
            <p:nvPr/>
          </p:nvSpPr>
          <p:spPr>
            <a:xfrm>
              <a:off x="391485" y="4505876"/>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NETWORKS</a:t>
              </a:r>
              <a:endParaRPr lang="en-US" sz="650" dirty="0">
                <a:solidFill>
                  <a:srgbClr val="FFFFFF"/>
                </a:solidFill>
                <a:latin typeface="Segoe UI" panose="020B0502040204020203" pitchFamily="34" charset="0"/>
                <a:cs typeface="Segoe UI" panose="020B0502040204020203" pitchFamily="34" charset="0"/>
              </a:endParaRPr>
            </a:p>
          </p:txBody>
        </p:sp>
        <p:sp>
          <p:nvSpPr>
            <p:cNvPr id="19" name="Networks Icon"/>
            <p:cNvSpPr>
              <a:spLocks noChangeAspect="1"/>
            </p:cNvSpPr>
            <p:nvPr/>
          </p:nvSpPr>
          <p:spPr>
            <a:xfrm>
              <a:off x="77983" y="4572823"/>
              <a:ext cx="276134" cy="153482"/>
            </a:xfrm>
            <a:custGeom>
              <a:avLst/>
              <a:gdLst>
                <a:gd name="connsiteX0" fmla="*/ 1744898 w 2580805"/>
                <a:gd name="connsiteY0" fmla="*/ 547589 h 1434470"/>
                <a:gd name="connsiteX1" fmla="*/ 1914544 w 2580805"/>
                <a:gd name="connsiteY1" fmla="*/ 717233 h 1434470"/>
                <a:gd name="connsiteX2" fmla="*/ 1744898 w 2580805"/>
                <a:gd name="connsiteY2" fmla="*/ 886877 h 1434470"/>
                <a:gd name="connsiteX3" fmla="*/ 1575253 w 2580805"/>
                <a:gd name="connsiteY3" fmla="*/ 717233 h 1434470"/>
                <a:gd name="connsiteX4" fmla="*/ 1744898 w 2580805"/>
                <a:gd name="connsiteY4" fmla="*/ 547589 h 1434470"/>
                <a:gd name="connsiteX5" fmla="*/ 1290403 w 2580805"/>
                <a:gd name="connsiteY5" fmla="*/ 547589 h 1434470"/>
                <a:gd name="connsiteX6" fmla="*/ 1460047 w 2580805"/>
                <a:gd name="connsiteY6" fmla="*/ 717233 h 1434470"/>
                <a:gd name="connsiteX7" fmla="*/ 1290403 w 2580805"/>
                <a:gd name="connsiteY7" fmla="*/ 886877 h 1434470"/>
                <a:gd name="connsiteX8" fmla="*/ 1120757 w 2580805"/>
                <a:gd name="connsiteY8" fmla="*/ 717233 h 1434470"/>
                <a:gd name="connsiteX9" fmla="*/ 1290403 w 2580805"/>
                <a:gd name="connsiteY9" fmla="*/ 547589 h 1434470"/>
                <a:gd name="connsiteX10" fmla="*/ 835907 w 2580805"/>
                <a:gd name="connsiteY10" fmla="*/ 547589 h 1434470"/>
                <a:gd name="connsiteX11" fmla="*/ 1005551 w 2580805"/>
                <a:gd name="connsiteY11" fmla="*/ 717233 h 1434470"/>
                <a:gd name="connsiteX12" fmla="*/ 835906 w 2580805"/>
                <a:gd name="connsiteY12" fmla="*/ 886877 h 1434470"/>
                <a:gd name="connsiteX13" fmla="*/ 666261 w 2580805"/>
                <a:gd name="connsiteY13" fmla="*/ 717233 h 1434470"/>
                <a:gd name="connsiteX14" fmla="*/ 835907 w 2580805"/>
                <a:gd name="connsiteY14" fmla="*/ 547589 h 1434470"/>
                <a:gd name="connsiteX15" fmla="*/ 1863569 w 2580805"/>
                <a:gd name="connsiteY15" fmla="*/ 5 h 1434470"/>
                <a:gd name="connsiteX16" fmla="*/ 2580805 w 2580805"/>
                <a:gd name="connsiteY16" fmla="*/ 717241 h 1434470"/>
                <a:gd name="connsiteX17" fmla="*/ 1863576 w 2580805"/>
                <a:gd name="connsiteY17" fmla="*/ 1434470 h 1434470"/>
                <a:gd name="connsiteX18" fmla="*/ 1756750 w 2580805"/>
                <a:gd name="connsiteY18" fmla="*/ 1327645 h 1434470"/>
                <a:gd name="connsiteX19" fmla="*/ 2367165 w 2580805"/>
                <a:gd name="connsiteY19" fmla="*/ 717230 h 1434470"/>
                <a:gd name="connsiteX20" fmla="*/ 1756754 w 2580805"/>
                <a:gd name="connsiteY20" fmla="*/ 106819 h 1434470"/>
                <a:gd name="connsiteX21" fmla="*/ 717236 w 2580805"/>
                <a:gd name="connsiteY21" fmla="*/ 0 h 1434470"/>
                <a:gd name="connsiteX22" fmla="*/ 824051 w 2580805"/>
                <a:gd name="connsiteY22" fmla="*/ 106815 h 1434470"/>
                <a:gd name="connsiteX23" fmla="*/ 213640 w 2580805"/>
                <a:gd name="connsiteY23" fmla="*/ 717226 h 1434470"/>
                <a:gd name="connsiteX24" fmla="*/ 824054 w 2580805"/>
                <a:gd name="connsiteY24" fmla="*/ 1327640 h 1434470"/>
                <a:gd name="connsiteX25" fmla="*/ 717229 w 2580805"/>
                <a:gd name="connsiteY25" fmla="*/ 1434465 h 1434470"/>
                <a:gd name="connsiteX26" fmla="*/ 0 w 2580805"/>
                <a:gd name="connsiteY26" fmla="*/ 717236 h 1434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80805" h="1434470">
                  <a:moveTo>
                    <a:pt x="1744898" y="547589"/>
                  </a:moveTo>
                  <a:cubicBezTo>
                    <a:pt x="1838590" y="547589"/>
                    <a:pt x="1914543" y="623541"/>
                    <a:pt x="1914544" y="717233"/>
                  </a:cubicBezTo>
                  <a:cubicBezTo>
                    <a:pt x="1914543" y="810926"/>
                    <a:pt x="1838590" y="886877"/>
                    <a:pt x="1744898" y="886877"/>
                  </a:cubicBezTo>
                  <a:cubicBezTo>
                    <a:pt x="1651207" y="886877"/>
                    <a:pt x="1575253" y="810925"/>
                    <a:pt x="1575253" y="717233"/>
                  </a:cubicBezTo>
                  <a:cubicBezTo>
                    <a:pt x="1575253" y="623541"/>
                    <a:pt x="1651207" y="547589"/>
                    <a:pt x="1744898" y="547589"/>
                  </a:cubicBezTo>
                  <a:close/>
                  <a:moveTo>
                    <a:pt x="1290403" y="547589"/>
                  </a:moveTo>
                  <a:cubicBezTo>
                    <a:pt x="1384094" y="547589"/>
                    <a:pt x="1460047" y="623541"/>
                    <a:pt x="1460047" y="717233"/>
                  </a:cubicBezTo>
                  <a:cubicBezTo>
                    <a:pt x="1460047" y="810926"/>
                    <a:pt x="1384094" y="886877"/>
                    <a:pt x="1290403" y="886877"/>
                  </a:cubicBezTo>
                  <a:cubicBezTo>
                    <a:pt x="1196710" y="886877"/>
                    <a:pt x="1120757" y="810925"/>
                    <a:pt x="1120757" y="717233"/>
                  </a:cubicBezTo>
                  <a:cubicBezTo>
                    <a:pt x="1120757" y="623542"/>
                    <a:pt x="1196710" y="547589"/>
                    <a:pt x="1290403" y="547589"/>
                  </a:cubicBezTo>
                  <a:close/>
                  <a:moveTo>
                    <a:pt x="835907" y="547589"/>
                  </a:moveTo>
                  <a:cubicBezTo>
                    <a:pt x="929599" y="547589"/>
                    <a:pt x="1005552" y="623541"/>
                    <a:pt x="1005551" y="717233"/>
                  </a:cubicBezTo>
                  <a:cubicBezTo>
                    <a:pt x="1005551" y="810925"/>
                    <a:pt x="929599" y="886877"/>
                    <a:pt x="835906" y="886877"/>
                  </a:cubicBezTo>
                  <a:cubicBezTo>
                    <a:pt x="742214" y="886877"/>
                    <a:pt x="666261" y="810925"/>
                    <a:pt x="666261" y="717233"/>
                  </a:cubicBezTo>
                  <a:cubicBezTo>
                    <a:pt x="666261" y="623542"/>
                    <a:pt x="742214" y="547589"/>
                    <a:pt x="835907" y="547589"/>
                  </a:cubicBezTo>
                  <a:close/>
                  <a:moveTo>
                    <a:pt x="1863569" y="5"/>
                  </a:moveTo>
                  <a:lnTo>
                    <a:pt x="2580805" y="717241"/>
                  </a:lnTo>
                  <a:lnTo>
                    <a:pt x="1863576" y="1434470"/>
                  </a:lnTo>
                  <a:lnTo>
                    <a:pt x="1756750" y="1327645"/>
                  </a:lnTo>
                  <a:lnTo>
                    <a:pt x="2367165" y="717230"/>
                  </a:lnTo>
                  <a:lnTo>
                    <a:pt x="1756754" y="106819"/>
                  </a:lnTo>
                  <a:close/>
                  <a:moveTo>
                    <a:pt x="717236" y="0"/>
                  </a:moveTo>
                  <a:lnTo>
                    <a:pt x="824051" y="106815"/>
                  </a:lnTo>
                  <a:lnTo>
                    <a:pt x="213640" y="717226"/>
                  </a:lnTo>
                  <a:lnTo>
                    <a:pt x="824054" y="1327640"/>
                  </a:lnTo>
                  <a:lnTo>
                    <a:pt x="717229" y="1434465"/>
                  </a:lnTo>
                  <a:lnTo>
                    <a:pt x="0" y="7172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20" name="SQL Reporting Name"/>
            <p:cNvSpPr txBox="1"/>
            <p:nvPr/>
          </p:nvSpPr>
          <p:spPr>
            <a:xfrm>
              <a:off x="391485" y="4147646"/>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QL REPORTING</a:t>
              </a:r>
              <a:endParaRPr lang="en-US" sz="650" dirty="0">
                <a:solidFill>
                  <a:srgbClr val="FFFFFF"/>
                </a:solidFill>
                <a:latin typeface="Segoe UI" panose="020B0502040204020203" pitchFamily="34" charset="0"/>
                <a:cs typeface="Segoe UI" panose="020B0502040204020203" pitchFamily="34" charset="0"/>
              </a:endParaRPr>
            </a:p>
          </p:txBody>
        </p:sp>
        <p:sp>
          <p:nvSpPr>
            <p:cNvPr id="21" name="SQL Reporting Icon"/>
            <p:cNvSpPr>
              <a:spLocks noChangeAspect="1"/>
            </p:cNvSpPr>
            <p:nvPr/>
          </p:nvSpPr>
          <p:spPr>
            <a:xfrm>
              <a:off x="118307" y="4167456"/>
              <a:ext cx="195486" cy="245676"/>
            </a:xfrm>
            <a:custGeom>
              <a:avLst/>
              <a:gdLst>
                <a:gd name="connsiteX0" fmla="*/ 1350195 w 1848712"/>
                <a:gd name="connsiteY0" fmla="*/ 1954361 h 2323360"/>
                <a:gd name="connsiteX1" fmla="*/ 1569270 w 1848712"/>
                <a:gd name="connsiteY1" fmla="*/ 1954361 h 2323360"/>
                <a:gd name="connsiteX2" fmla="*/ 1569270 w 1848712"/>
                <a:gd name="connsiteY2" fmla="*/ 2028656 h 2323360"/>
                <a:gd name="connsiteX3" fmla="*/ 1350195 w 1848712"/>
                <a:gd name="connsiteY3" fmla="*/ 2028656 h 2323360"/>
                <a:gd name="connsiteX4" fmla="*/ 1061946 w 1848712"/>
                <a:gd name="connsiteY4" fmla="*/ 1954361 h 2323360"/>
                <a:gd name="connsiteX5" fmla="*/ 1281021 w 1848712"/>
                <a:gd name="connsiteY5" fmla="*/ 1954361 h 2323360"/>
                <a:gd name="connsiteX6" fmla="*/ 1281021 w 1848712"/>
                <a:gd name="connsiteY6" fmla="*/ 2028656 h 2323360"/>
                <a:gd name="connsiteX7" fmla="*/ 1061946 w 1848712"/>
                <a:gd name="connsiteY7" fmla="*/ 2028656 h 2323360"/>
                <a:gd name="connsiteX8" fmla="*/ 1350195 w 1848712"/>
                <a:gd name="connsiteY8" fmla="*/ 1817100 h 2323360"/>
                <a:gd name="connsiteX9" fmla="*/ 1569270 w 1848712"/>
                <a:gd name="connsiteY9" fmla="*/ 1817100 h 2323360"/>
                <a:gd name="connsiteX10" fmla="*/ 1569270 w 1848712"/>
                <a:gd name="connsiteY10" fmla="*/ 1891395 h 2323360"/>
                <a:gd name="connsiteX11" fmla="*/ 1350195 w 1848712"/>
                <a:gd name="connsiteY11" fmla="*/ 1891395 h 2323360"/>
                <a:gd name="connsiteX12" fmla="*/ 1061946 w 1848712"/>
                <a:gd name="connsiteY12" fmla="*/ 1817100 h 2323360"/>
                <a:gd name="connsiteX13" fmla="*/ 1281021 w 1848712"/>
                <a:gd name="connsiteY13" fmla="*/ 1817100 h 2323360"/>
                <a:gd name="connsiteX14" fmla="*/ 1281021 w 1848712"/>
                <a:gd name="connsiteY14" fmla="*/ 1891395 h 2323360"/>
                <a:gd name="connsiteX15" fmla="*/ 1061946 w 1848712"/>
                <a:gd name="connsiteY15" fmla="*/ 1891395 h 2323360"/>
                <a:gd name="connsiteX16" fmla="*/ 1350195 w 1848712"/>
                <a:gd name="connsiteY16" fmla="*/ 1679839 h 2323360"/>
                <a:gd name="connsiteX17" fmla="*/ 1569270 w 1848712"/>
                <a:gd name="connsiteY17" fmla="*/ 1679839 h 2323360"/>
                <a:gd name="connsiteX18" fmla="*/ 1569270 w 1848712"/>
                <a:gd name="connsiteY18" fmla="*/ 1754134 h 2323360"/>
                <a:gd name="connsiteX19" fmla="*/ 1350195 w 1848712"/>
                <a:gd name="connsiteY19" fmla="*/ 1754134 h 2323360"/>
                <a:gd name="connsiteX20" fmla="*/ 1061946 w 1848712"/>
                <a:gd name="connsiteY20" fmla="*/ 1679839 h 2323360"/>
                <a:gd name="connsiteX21" fmla="*/ 1281021 w 1848712"/>
                <a:gd name="connsiteY21" fmla="*/ 1679839 h 2323360"/>
                <a:gd name="connsiteX22" fmla="*/ 1281021 w 1848712"/>
                <a:gd name="connsiteY22" fmla="*/ 1754134 h 2323360"/>
                <a:gd name="connsiteX23" fmla="*/ 1061946 w 1848712"/>
                <a:gd name="connsiteY23" fmla="*/ 1754134 h 2323360"/>
                <a:gd name="connsiteX24" fmla="*/ 1350195 w 1848712"/>
                <a:gd name="connsiteY24" fmla="*/ 1539558 h 2323360"/>
                <a:gd name="connsiteX25" fmla="*/ 1569270 w 1848712"/>
                <a:gd name="connsiteY25" fmla="*/ 1539558 h 2323360"/>
                <a:gd name="connsiteX26" fmla="*/ 1569270 w 1848712"/>
                <a:gd name="connsiteY26" fmla="*/ 1613853 h 2323360"/>
                <a:gd name="connsiteX27" fmla="*/ 1350195 w 1848712"/>
                <a:gd name="connsiteY27" fmla="*/ 1613853 h 2323360"/>
                <a:gd name="connsiteX28" fmla="*/ 1061946 w 1848712"/>
                <a:gd name="connsiteY28" fmla="*/ 1539558 h 2323360"/>
                <a:gd name="connsiteX29" fmla="*/ 1281021 w 1848712"/>
                <a:gd name="connsiteY29" fmla="*/ 1539558 h 2323360"/>
                <a:gd name="connsiteX30" fmla="*/ 1281021 w 1848712"/>
                <a:gd name="connsiteY30" fmla="*/ 1613853 h 2323360"/>
                <a:gd name="connsiteX31" fmla="*/ 1061946 w 1848712"/>
                <a:gd name="connsiteY31" fmla="*/ 1613853 h 2323360"/>
                <a:gd name="connsiteX32" fmla="*/ 1061946 w 1848712"/>
                <a:gd name="connsiteY32" fmla="*/ 1399277 h 2323360"/>
                <a:gd name="connsiteX33" fmla="*/ 1281021 w 1848712"/>
                <a:gd name="connsiteY33" fmla="*/ 1399277 h 2323360"/>
                <a:gd name="connsiteX34" fmla="*/ 1281021 w 1848712"/>
                <a:gd name="connsiteY34" fmla="*/ 1473572 h 2323360"/>
                <a:gd name="connsiteX35" fmla="*/ 1061946 w 1848712"/>
                <a:gd name="connsiteY35" fmla="*/ 1473572 h 2323360"/>
                <a:gd name="connsiteX36" fmla="*/ 1061946 w 1848712"/>
                <a:gd name="connsiteY36" fmla="*/ 1258996 h 2323360"/>
                <a:gd name="connsiteX37" fmla="*/ 1281021 w 1848712"/>
                <a:gd name="connsiteY37" fmla="*/ 1258996 h 2323360"/>
                <a:gd name="connsiteX38" fmla="*/ 1281021 w 1848712"/>
                <a:gd name="connsiteY38" fmla="*/ 1333291 h 2323360"/>
                <a:gd name="connsiteX39" fmla="*/ 1061946 w 1848712"/>
                <a:gd name="connsiteY39" fmla="*/ 1333291 h 2323360"/>
                <a:gd name="connsiteX40" fmla="*/ 879780 w 1848712"/>
                <a:gd name="connsiteY40" fmla="*/ 1087839 h 2323360"/>
                <a:gd name="connsiteX41" fmla="*/ 879780 w 1848712"/>
                <a:gd name="connsiteY41" fmla="*/ 2196257 h 2323360"/>
                <a:gd name="connsiteX42" fmla="*/ 1782872 w 1848712"/>
                <a:gd name="connsiteY42" fmla="*/ 2196257 h 2323360"/>
                <a:gd name="connsiteX43" fmla="*/ 1782872 w 1848712"/>
                <a:gd name="connsiteY43" fmla="*/ 1457029 h 2323360"/>
                <a:gd name="connsiteX44" fmla="*/ 1739146 w 1848712"/>
                <a:gd name="connsiteY44" fmla="*/ 1413303 h 2323360"/>
                <a:gd name="connsiteX45" fmla="*/ 1419754 w 1848712"/>
                <a:gd name="connsiteY45" fmla="*/ 1413303 h 2323360"/>
                <a:gd name="connsiteX46" fmla="*/ 1419754 w 1848712"/>
                <a:gd name="connsiteY46" fmla="*/ 1093909 h 2323360"/>
                <a:gd name="connsiteX47" fmla="*/ 1413684 w 1848712"/>
                <a:gd name="connsiteY47" fmla="*/ 1087839 h 2323360"/>
                <a:gd name="connsiteX48" fmla="*/ 813941 w 1848712"/>
                <a:gd name="connsiteY48" fmla="*/ 1007033 h 2323360"/>
                <a:gd name="connsiteX49" fmla="*/ 1425693 w 1848712"/>
                <a:gd name="connsiteY49" fmla="*/ 1007033 h 2323360"/>
                <a:gd name="connsiteX50" fmla="*/ 1848712 w 1848712"/>
                <a:gd name="connsiteY50" fmla="*/ 1430053 h 2323360"/>
                <a:gd name="connsiteX51" fmla="*/ 1848712 w 1848712"/>
                <a:gd name="connsiteY51" fmla="*/ 2277064 h 2323360"/>
                <a:gd name="connsiteX52" fmla="*/ 813941 w 1848712"/>
                <a:gd name="connsiteY52" fmla="*/ 2277064 h 2323360"/>
                <a:gd name="connsiteX53" fmla="*/ 880394 w 1848712"/>
                <a:gd name="connsiteY53" fmla="*/ 113797 h 2323360"/>
                <a:gd name="connsiteX54" fmla="*/ 247312 w 1848712"/>
                <a:gd name="connsiteY54" fmla="*/ 321309 h 2323360"/>
                <a:gd name="connsiteX55" fmla="*/ 880394 w 1848712"/>
                <a:gd name="connsiteY55" fmla="*/ 528822 h 2323360"/>
                <a:gd name="connsiteX56" fmla="*/ 1513477 w 1848712"/>
                <a:gd name="connsiteY56" fmla="*/ 321309 h 2323360"/>
                <a:gd name="connsiteX57" fmla="*/ 880394 w 1848712"/>
                <a:gd name="connsiteY57" fmla="*/ 113797 h 2323360"/>
                <a:gd name="connsiteX58" fmla="*/ 880394 w 1848712"/>
                <a:gd name="connsiteY58" fmla="*/ 0 h 2323360"/>
                <a:gd name="connsiteX59" fmla="*/ 1760788 w 1848712"/>
                <a:gd name="connsiteY59" fmla="*/ 288577 h 2323360"/>
                <a:gd name="connsiteX60" fmla="*/ 1760788 w 1848712"/>
                <a:gd name="connsiteY60" fmla="*/ 1238657 h 2323360"/>
                <a:gd name="connsiteX61" fmla="*/ 1457196 w 1848712"/>
                <a:gd name="connsiteY61" fmla="*/ 935064 h 2323360"/>
                <a:gd name="connsiteX62" fmla="*/ 746191 w 1848712"/>
                <a:gd name="connsiteY62" fmla="*/ 935064 h 2323360"/>
                <a:gd name="connsiteX63" fmla="*/ 746191 w 1848712"/>
                <a:gd name="connsiteY63" fmla="*/ 2323360 h 2323360"/>
                <a:gd name="connsiteX64" fmla="*/ 709386 w 1848712"/>
                <a:gd name="connsiteY64" fmla="*/ 2322188 h 2323360"/>
                <a:gd name="connsiteX65" fmla="*/ 5235 w 1848712"/>
                <a:gd name="connsiteY65" fmla="*/ 2056073 h 2323360"/>
                <a:gd name="connsiteX66" fmla="*/ 0 w 1848712"/>
                <a:gd name="connsiteY66" fmla="*/ 2056073 h 2323360"/>
                <a:gd name="connsiteX67" fmla="*/ 0 w 1848712"/>
                <a:gd name="connsiteY67" fmla="*/ 2039053 h 2323360"/>
                <a:gd name="connsiteX68" fmla="*/ 0 w 1848712"/>
                <a:gd name="connsiteY68" fmla="*/ 288577 h 2323360"/>
                <a:gd name="connsiteX69" fmla="*/ 880394 w 1848712"/>
                <a:gd name="connsiteY69" fmla="*/ 0 h 232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848712" h="2323360">
                  <a:moveTo>
                    <a:pt x="1350195" y="1954361"/>
                  </a:moveTo>
                  <a:lnTo>
                    <a:pt x="1569270" y="1954361"/>
                  </a:lnTo>
                  <a:lnTo>
                    <a:pt x="1569270" y="2028656"/>
                  </a:lnTo>
                  <a:lnTo>
                    <a:pt x="1350195" y="2028656"/>
                  </a:lnTo>
                  <a:close/>
                  <a:moveTo>
                    <a:pt x="1061946" y="1954361"/>
                  </a:moveTo>
                  <a:lnTo>
                    <a:pt x="1281021" y="1954361"/>
                  </a:lnTo>
                  <a:lnTo>
                    <a:pt x="1281021" y="2028656"/>
                  </a:lnTo>
                  <a:lnTo>
                    <a:pt x="1061946" y="2028656"/>
                  </a:lnTo>
                  <a:close/>
                  <a:moveTo>
                    <a:pt x="1350195" y="1817100"/>
                  </a:moveTo>
                  <a:lnTo>
                    <a:pt x="1569270" y="1817100"/>
                  </a:lnTo>
                  <a:lnTo>
                    <a:pt x="1569270" y="1891395"/>
                  </a:lnTo>
                  <a:lnTo>
                    <a:pt x="1350195" y="1891395"/>
                  </a:lnTo>
                  <a:close/>
                  <a:moveTo>
                    <a:pt x="1061946" y="1817100"/>
                  </a:moveTo>
                  <a:lnTo>
                    <a:pt x="1281021" y="1817100"/>
                  </a:lnTo>
                  <a:lnTo>
                    <a:pt x="1281021" y="1891395"/>
                  </a:lnTo>
                  <a:lnTo>
                    <a:pt x="1061946" y="1891395"/>
                  </a:lnTo>
                  <a:close/>
                  <a:moveTo>
                    <a:pt x="1350195" y="1679839"/>
                  </a:moveTo>
                  <a:lnTo>
                    <a:pt x="1569270" y="1679839"/>
                  </a:lnTo>
                  <a:lnTo>
                    <a:pt x="1569270" y="1754134"/>
                  </a:lnTo>
                  <a:lnTo>
                    <a:pt x="1350195" y="1754134"/>
                  </a:lnTo>
                  <a:close/>
                  <a:moveTo>
                    <a:pt x="1061946" y="1679839"/>
                  </a:moveTo>
                  <a:lnTo>
                    <a:pt x="1281021" y="1679839"/>
                  </a:lnTo>
                  <a:lnTo>
                    <a:pt x="1281021" y="1754134"/>
                  </a:lnTo>
                  <a:lnTo>
                    <a:pt x="1061946" y="1754134"/>
                  </a:lnTo>
                  <a:close/>
                  <a:moveTo>
                    <a:pt x="1350195" y="1539558"/>
                  </a:moveTo>
                  <a:lnTo>
                    <a:pt x="1569270" y="1539558"/>
                  </a:lnTo>
                  <a:lnTo>
                    <a:pt x="1569270" y="1613853"/>
                  </a:lnTo>
                  <a:lnTo>
                    <a:pt x="1350195" y="1613853"/>
                  </a:lnTo>
                  <a:close/>
                  <a:moveTo>
                    <a:pt x="1061946" y="1539558"/>
                  </a:moveTo>
                  <a:lnTo>
                    <a:pt x="1281021" y="1539558"/>
                  </a:lnTo>
                  <a:lnTo>
                    <a:pt x="1281021" y="1613853"/>
                  </a:lnTo>
                  <a:lnTo>
                    <a:pt x="1061946" y="1613853"/>
                  </a:lnTo>
                  <a:close/>
                  <a:moveTo>
                    <a:pt x="1061946" y="1399277"/>
                  </a:moveTo>
                  <a:lnTo>
                    <a:pt x="1281021" y="1399277"/>
                  </a:lnTo>
                  <a:lnTo>
                    <a:pt x="1281021" y="1473572"/>
                  </a:lnTo>
                  <a:lnTo>
                    <a:pt x="1061946" y="1473572"/>
                  </a:lnTo>
                  <a:close/>
                  <a:moveTo>
                    <a:pt x="1061946" y="1258996"/>
                  </a:moveTo>
                  <a:lnTo>
                    <a:pt x="1281021" y="1258996"/>
                  </a:lnTo>
                  <a:lnTo>
                    <a:pt x="1281021" y="1333291"/>
                  </a:lnTo>
                  <a:lnTo>
                    <a:pt x="1061946" y="1333291"/>
                  </a:lnTo>
                  <a:close/>
                  <a:moveTo>
                    <a:pt x="879780" y="1087839"/>
                  </a:moveTo>
                  <a:lnTo>
                    <a:pt x="879780" y="2196257"/>
                  </a:lnTo>
                  <a:lnTo>
                    <a:pt x="1782872" y="2196257"/>
                  </a:lnTo>
                  <a:lnTo>
                    <a:pt x="1782872" y="1457029"/>
                  </a:lnTo>
                  <a:lnTo>
                    <a:pt x="1739146" y="1413303"/>
                  </a:lnTo>
                  <a:lnTo>
                    <a:pt x="1419754" y="1413303"/>
                  </a:lnTo>
                  <a:lnTo>
                    <a:pt x="1419754" y="1093909"/>
                  </a:lnTo>
                  <a:lnTo>
                    <a:pt x="1413684" y="1087839"/>
                  </a:lnTo>
                  <a:close/>
                  <a:moveTo>
                    <a:pt x="813941" y="1007033"/>
                  </a:moveTo>
                  <a:lnTo>
                    <a:pt x="1425693" y="1007033"/>
                  </a:lnTo>
                  <a:lnTo>
                    <a:pt x="1848712" y="1430053"/>
                  </a:lnTo>
                  <a:lnTo>
                    <a:pt x="1848712" y="2277064"/>
                  </a:lnTo>
                  <a:lnTo>
                    <a:pt x="813941" y="2277064"/>
                  </a:lnTo>
                  <a:close/>
                  <a:moveTo>
                    <a:pt x="880394" y="113797"/>
                  </a:moveTo>
                  <a:cubicBezTo>
                    <a:pt x="530752" y="113797"/>
                    <a:pt x="247312" y="206703"/>
                    <a:pt x="247312" y="321309"/>
                  </a:cubicBezTo>
                  <a:cubicBezTo>
                    <a:pt x="247312" y="435915"/>
                    <a:pt x="530752" y="528822"/>
                    <a:pt x="880394" y="528822"/>
                  </a:cubicBezTo>
                  <a:cubicBezTo>
                    <a:pt x="1230036" y="528822"/>
                    <a:pt x="1513477" y="435915"/>
                    <a:pt x="1513477" y="321309"/>
                  </a:cubicBezTo>
                  <a:cubicBezTo>
                    <a:pt x="1513477" y="206703"/>
                    <a:pt x="1230036" y="113797"/>
                    <a:pt x="880394" y="113797"/>
                  </a:cubicBezTo>
                  <a:close/>
                  <a:moveTo>
                    <a:pt x="880394" y="0"/>
                  </a:moveTo>
                  <a:cubicBezTo>
                    <a:pt x="1366623" y="0"/>
                    <a:pt x="1760788" y="129200"/>
                    <a:pt x="1760788" y="288577"/>
                  </a:cubicBezTo>
                  <a:lnTo>
                    <a:pt x="1760788" y="1238657"/>
                  </a:lnTo>
                  <a:lnTo>
                    <a:pt x="1457196" y="935064"/>
                  </a:lnTo>
                  <a:lnTo>
                    <a:pt x="746191" y="935064"/>
                  </a:lnTo>
                  <a:lnTo>
                    <a:pt x="746191" y="2323360"/>
                  </a:lnTo>
                  <a:lnTo>
                    <a:pt x="709386" y="2322188"/>
                  </a:lnTo>
                  <a:cubicBezTo>
                    <a:pt x="322191" y="2297192"/>
                    <a:pt x="26471" y="2188905"/>
                    <a:pt x="5235" y="2056073"/>
                  </a:cubicBezTo>
                  <a:lnTo>
                    <a:pt x="0" y="2056073"/>
                  </a:lnTo>
                  <a:lnTo>
                    <a:pt x="0" y="2039053"/>
                  </a:lnTo>
                  <a:lnTo>
                    <a:pt x="0" y="288577"/>
                  </a:lnTo>
                  <a:cubicBezTo>
                    <a:pt x="0" y="129200"/>
                    <a:pt x="394166" y="0"/>
                    <a:pt x="880394"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22" name="BizTalk Services Name"/>
            <p:cNvSpPr txBox="1"/>
            <p:nvPr/>
          </p:nvSpPr>
          <p:spPr>
            <a:xfrm>
              <a:off x="391497" y="3784572"/>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BIZTALK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23" name="Biztalk Services Icon"/>
            <p:cNvSpPr>
              <a:spLocks noChangeAspect="1"/>
            </p:cNvSpPr>
            <p:nvPr/>
          </p:nvSpPr>
          <p:spPr bwMode="auto">
            <a:xfrm>
              <a:off x="78339" y="3807533"/>
              <a:ext cx="275422" cy="267179"/>
            </a:xfrm>
            <a:custGeom>
              <a:avLst/>
              <a:gdLst>
                <a:gd name="connsiteX0" fmla="*/ 1673975 w 3309434"/>
                <a:gd name="connsiteY0" fmla="*/ 1257349 h 3210388"/>
                <a:gd name="connsiteX1" fmla="*/ 1954745 w 3309434"/>
                <a:gd name="connsiteY1" fmla="*/ 1538119 h 3210388"/>
                <a:gd name="connsiteX2" fmla="*/ 1673975 w 3309434"/>
                <a:gd name="connsiteY2" fmla="*/ 1818889 h 3210388"/>
                <a:gd name="connsiteX3" fmla="*/ 1393205 w 3309434"/>
                <a:gd name="connsiteY3" fmla="*/ 1538119 h 3210388"/>
                <a:gd name="connsiteX4" fmla="*/ 1673975 w 3309434"/>
                <a:gd name="connsiteY4" fmla="*/ 1257349 h 3210388"/>
                <a:gd name="connsiteX5" fmla="*/ 2106918 w 3309434"/>
                <a:gd name="connsiteY5" fmla="*/ 0 h 3210388"/>
                <a:gd name="connsiteX6" fmla="*/ 2884238 w 3309434"/>
                <a:gd name="connsiteY6" fmla="*/ 777320 h 3210388"/>
                <a:gd name="connsiteX7" fmla="*/ 2854173 w 3309434"/>
                <a:gd name="connsiteY7" fmla="*/ 979964 h 3210388"/>
                <a:gd name="connsiteX8" fmla="*/ 3309434 w 3309434"/>
                <a:gd name="connsiteY8" fmla="*/ 1598558 h 3210388"/>
                <a:gd name="connsiteX9" fmla="*/ 2649521 w 3309434"/>
                <a:gd name="connsiteY9" fmla="*/ 2258471 h 3210388"/>
                <a:gd name="connsiteX10" fmla="*/ 2649501 w 3309434"/>
                <a:gd name="connsiteY10" fmla="*/ 2258467 h 3210388"/>
                <a:gd name="connsiteX11" fmla="*/ 1763246 w 3309434"/>
                <a:gd name="connsiteY11" fmla="*/ 2258467 h 3210388"/>
                <a:gd name="connsiteX12" fmla="*/ 1763246 w 3309434"/>
                <a:gd name="connsiteY12" fmla="*/ 2015630 h 3210388"/>
                <a:gd name="connsiteX13" fmla="*/ 1772024 w 3309434"/>
                <a:gd name="connsiteY13" fmla="*/ 2014745 h 3210388"/>
                <a:gd name="connsiteX14" fmla="*/ 2017990 w 3309434"/>
                <a:gd name="connsiteY14" fmla="*/ 1882134 h 3210388"/>
                <a:gd name="connsiteX15" fmla="*/ 2052965 w 3309434"/>
                <a:gd name="connsiteY15" fmla="*/ 1839743 h 3210388"/>
                <a:gd name="connsiteX16" fmla="*/ 2317440 w 3309434"/>
                <a:gd name="connsiteY16" fmla="*/ 1992438 h 3210388"/>
                <a:gd name="connsiteX17" fmla="*/ 2236929 w 3309434"/>
                <a:gd name="connsiteY17" fmla="*/ 2131887 h 3210388"/>
                <a:gd name="connsiteX18" fmla="*/ 2574490 w 3309434"/>
                <a:gd name="connsiteY18" fmla="*/ 2048736 h 3210388"/>
                <a:gd name="connsiteX19" fmla="*/ 2477721 w 3309434"/>
                <a:gd name="connsiteY19" fmla="*/ 1714823 h 3210388"/>
                <a:gd name="connsiteX20" fmla="*/ 2397210 w 3309434"/>
                <a:gd name="connsiteY20" fmla="*/ 1854272 h 3210388"/>
                <a:gd name="connsiteX21" fmla="*/ 2130667 w 3309434"/>
                <a:gd name="connsiteY21" fmla="*/ 1700384 h 3210388"/>
                <a:gd name="connsiteX22" fmla="*/ 2150601 w 3309434"/>
                <a:gd name="connsiteY22" fmla="*/ 1636168 h 3210388"/>
                <a:gd name="connsiteX23" fmla="*/ 2160485 w 3309434"/>
                <a:gd name="connsiteY23" fmla="*/ 1538119 h 3210388"/>
                <a:gd name="connsiteX24" fmla="*/ 2150601 w 3309434"/>
                <a:gd name="connsiteY24" fmla="*/ 1440071 h 3210388"/>
                <a:gd name="connsiteX25" fmla="*/ 2127329 w 3309434"/>
                <a:gd name="connsiteY25" fmla="*/ 1365100 h 3210388"/>
                <a:gd name="connsiteX26" fmla="*/ 2398569 w 3309434"/>
                <a:gd name="connsiteY26" fmla="*/ 1208499 h 3210388"/>
                <a:gd name="connsiteX27" fmla="*/ 2479080 w 3309434"/>
                <a:gd name="connsiteY27" fmla="*/ 1347948 h 3210388"/>
                <a:gd name="connsiteX28" fmla="*/ 2575849 w 3309434"/>
                <a:gd name="connsiteY28" fmla="*/ 1014036 h 3210388"/>
                <a:gd name="connsiteX29" fmla="*/ 2238288 w 3309434"/>
                <a:gd name="connsiteY29" fmla="*/ 930884 h 3210388"/>
                <a:gd name="connsiteX30" fmla="*/ 2318799 w 3309434"/>
                <a:gd name="connsiteY30" fmla="*/ 1070333 h 3210388"/>
                <a:gd name="connsiteX31" fmla="*/ 2045877 w 3309434"/>
                <a:gd name="connsiteY31" fmla="*/ 1227905 h 3210388"/>
                <a:gd name="connsiteX32" fmla="*/ 2017990 w 3309434"/>
                <a:gd name="connsiteY32" fmla="*/ 1194105 h 3210388"/>
                <a:gd name="connsiteX33" fmla="*/ 1772024 w 3309434"/>
                <a:gd name="connsiteY33" fmla="*/ 1061493 h 3210388"/>
                <a:gd name="connsiteX34" fmla="*/ 1748359 w 3309434"/>
                <a:gd name="connsiteY34" fmla="*/ 1059108 h 3210388"/>
                <a:gd name="connsiteX35" fmla="*/ 1748359 w 3309434"/>
                <a:gd name="connsiteY35" fmla="*/ 766561 h 3210388"/>
                <a:gd name="connsiteX36" fmla="*/ 1909381 w 3309434"/>
                <a:gd name="connsiteY36" fmla="*/ 766561 h 3210388"/>
                <a:gd name="connsiteX37" fmla="*/ 1668589 w 3309434"/>
                <a:gd name="connsiteY37" fmla="*/ 515800 h 3210388"/>
                <a:gd name="connsiteX38" fmla="*/ 1427797 w 3309434"/>
                <a:gd name="connsiteY38" fmla="*/ 766561 h 3210388"/>
                <a:gd name="connsiteX39" fmla="*/ 1588819 w 3309434"/>
                <a:gd name="connsiteY39" fmla="*/ 766561 h 3210388"/>
                <a:gd name="connsiteX40" fmla="*/ 1588819 w 3309434"/>
                <a:gd name="connsiteY40" fmla="*/ 1060194 h 3210388"/>
                <a:gd name="connsiteX41" fmla="*/ 1575927 w 3309434"/>
                <a:gd name="connsiteY41" fmla="*/ 1061493 h 3210388"/>
                <a:gd name="connsiteX42" fmla="*/ 1329960 w 3309434"/>
                <a:gd name="connsiteY42" fmla="*/ 1194105 h 3210388"/>
                <a:gd name="connsiteX43" fmla="*/ 1287232 w 3309434"/>
                <a:gd name="connsiteY43" fmla="*/ 1245892 h 3210388"/>
                <a:gd name="connsiteX44" fmla="*/ 1026832 w 3309434"/>
                <a:gd name="connsiteY44" fmla="*/ 1095549 h 3210388"/>
                <a:gd name="connsiteX45" fmla="*/ 1107343 w 3309434"/>
                <a:gd name="connsiteY45" fmla="*/ 956100 h 3210388"/>
                <a:gd name="connsiteX46" fmla="*/ 769782 w 3309434"/>
                <a:gd name="connsiteY46" fmla="*/ 1039252 h 3210388"/>
                <a:gd name="connsiteX47" fmla="*/ 866551 w 3309434"/>
                <a:gd name="connsiteY47" fmla="*/ 1373164 h 3210388"/>
                <a:gd name="connsiteX48" fmla="*/ 947062 w 3309434"/>
                <a:gd name="connsiteY48" fmla="*/ 1233715 h 3210388"/>
                <a:gd name="connsiteX49" fmla="*/ 1213631 w 3309434"/>
                <a:gd name="connsiteY49" fmla="*/ 1387619 h 3210388"/>
                <a:gd name="connsiteX50" fmla="*/ 1197349 w 3309434"/>
                <a:gd name="connsiteY50" fmla="*/ 1440071 h 3210388"/>
                <a:gd name="connsiteX51" fmla="*/ 1187465 w 3309434"/>
                <a:gd name="connsiteY51" fmla="*/ 1538119 h 3210388"/>
                <a:gd name="connsiteX52" fmla="*/ 1197349 w 3309434"/>
                <a:gd name="connsiteY52" fmla="*/ 1636168 h 3210388"/>
                <a:gd name="connsiteX53" fmla="*/ 1222347 w 3309434"/>
                <a:gd name="connsiteY53" fmla="*/ 1716700 h 3210388"/>
                <a:gd name="connsiteX54" fmla="*/ 968458 w 3309434"/>
                <a:gd name="connsiteY54" fmla="*/ 1863283 h 3210388"/>
                <a:gd name="connsiteX55" fmla="*/ 887947 w 3309434"/>
                <a:gd name="connsiteY55" fmla="*/ 1723834 h 3210388"/>
                <a:gd name="connsiteX56" fmla="*/ 791178 w 3309434"/>
                <a:gd name="connsiteY56" fmla="*/ 2057747 h 3210388"/>
                <a:gd name="connsiteX57" fmla="*/ 1128739 w 3309434"/>
                <a:gd name="connsiteY57" fmla="*/ 2140898 h 3210388"/>
                <a:gd name="connsiteX58" fmla="*/ 1048228 w 3309434"/>
                <a:gd name="connsiteY58" fmla="*/ 2001449 h 3210388"/>
                <a:gd name="connsiteX59" fmla="*/ 1305738 w 3309434"/>
                <a:gd name="connsiteY59" fmla="*/ 1852776 h 3210388"/>
                <a:gd name="connsiteX60" fmla="*/ 1329960 w 3309434"/>
                <a:gd name="connsiteY60" fmla="*/ 1882134 h 3210388"/>
                <a:gd name="connsiteX61" fmla="*/ 1575927 w 3309434"/>
                <a:gd name="connsiteY61" fmla="*/ 2014745 h 3210388"/>
                <a:gd name="connsiteX62" fmla="*/ 1583476 w 3309434"/>
                <a:gd name="connsiteY62" fmla="*/ 2015506 h 3210388"/>
                <a:gd name="connsiteX63" fmla="*/ 1583476 w 3309434"/>
                <a:gd name="connsiteY63" fmla="*/ 2257267 h 3210388"/>
                <a:gd name="connsiteX64" fmla="*/ 1758474 w 3309434"/>
                <a:gd name="connsiteY64" fmla="*/ 2257267 h 3210388"/>
                <a:gd name="connsiteX65" fmla="*/ 1758474 w 3309434"/>
                <a:gd name="connsiteY65" fmla="*/ 2692027 h 3210388"/>
                <a:gd name="connsiteX66" fmla="*/ 1772705 w 3309434"/>
                <a:gd name="connsiteY66" fmla="*/ 2696444 h 3210388"/>
                <a:gd name="connsiteX67" fmla="*/ 1936071 w 3309434"/>
                <a:gd name="connsiteY67" fmla="*/ 2942906 h 3210388"/>
                <a:gd name="connsiteX68" fmla="*/ 1668589 w 3309434"/>
                <a:gd name="connsiteY68" fmla="*/ 3210388 h 3210388"/>
                <a:gd name="connsiteX69" fmla="*/ 1401107 w 3309434"/>
                <a:gd name="connsiteY69" fmla="*/ 2942906 h 3210388"/>
                <a:gd name="connsiteX70" fmla="*/ 1564473 w 3309434"/>
                <a:gd name="connsiteY70" fmla="*/ 2696444 h 3210388"/>
                <a:gd name="connsiteX71" fmla="*/ 1578704 w 3309434"/>
                <a:gd name="connsiteY71" fmla="*/ 2692027 h 3210388"/>
                <a:gd name="connsiteX72" fmla="*/ 1578704 w 3309434"/>
                <a:gd name="connsiteY72" fmla="*/ 2258467 h 3210388"/>
                <a:gd name="connsiteX73" fmla="*/ 659954 w 3309434"/>
                <a:gd name="connsiteY73" fmla="*/ 2258467 h 3210388"/>
                <a:gd name="connsiteX74" fmla="*/ 659913 w 3309434"/>
                <a:gd name="connsiteY74" fmla="*/ 2258475 h 3210388"/>
                <a:gd name="connsiteX75" fmla="*/ 0 w 3309434"/>
                <a:gd name="connsiteY75" fmla="*/ 1598563 h 3210388"/>
                <a:gd name="connsiteX76" fmla="*/ 453504 w 3309434"/>
                <a:gd name="connsiteY76" fmla="*/ 980322 h 3210388"/>
                <a:gd name="connsiteX77" fmla="*/ 420413 w 3309434"/>
                <a:gd name="connsiteY77" fmla="*/ 816422 h 3210388"/>
                <a:gd name="connsiteX78" fmla="*/ 962984 w 3309434"/>
                <a:gd name="connsiteY78" fmla="*/ 273851 h 3210388"/>
                <a:gd name="connsiteX79" fmla="*/ 1385721 w 3309434"/>
                <a:gd name="connsiteY79" fmla="*/ 490734 h 3210388"/>
                <a:gd name="connsiteX80" fmla="*/ 2106918 w 3309434"/>
                <a:gd name="connsiteY80" fmla="*/ 0 h 321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309434" h="3210388">
                  <a:moveTo>
                    <a:pt x="1673975" y="1257349"/>
                  </a:moveTo>
                  <a:cubicBezTo>
                    <a:pt x="1829040" y="1257349"/>
                    <a:pt x="1954745" y="1383054"/>
                    <a:pt x="1954745" y="1538119"/>
                  </a:cubicBezTo>
                  <a:cubicBezTo>
                    <a:pt x="1954745" y="1693184"/>
                    <a:pt x="1829040" y="1818889"/>
                    <a:pt x="1673975" y="1818889"/>
                  </a:cubicBezTo>
                  <a:cubicBezTo>
                    <a:pt x="1518910" y="1818889"/>
                    <a:pt x="1393205" y="1693184"/>
                    <a:pt x="1393205" y="1538119"/>
                  </a:cubicBezTo>
                  <a:cubicBezTo>
                    <a:pt x="1393205" y="1383054"/>
                    <a:pt x="1518910" y="1257349"/>
                    <a:pt x="1673975" y="1257349"/>
                  </a:cubicBezTo>
                  <a:close/>
                  <a:moveTo>
                    <a:pt x="2106918" y="0"/>
                  </a:moveTo>
                  <a:cubicBezTo>
                    <a:pt x="2536219" y="0"/>
                    <a:pt x="2884238" y="348019"/>
                    <a:pt x="2884238" y="777320"/>
                  </a:cubicBezTo>
                  <a:cubicBezTo>
                    <a:pt x="2884238" y="847731"/>
                    <a:pt x="2874877" y="915954"/>
                    <a:pt x="2854173" y="979964"/>
                  </a:cubicBezTo>
                  <a:cubicBezTo>
                    <a:pt x="3119739" y="1058796"/>
                    <a:pt x="3309434" y="1306528"/>
                    <a:pt x="3309434" y="1598558"/>
                  </a:cubicBezTo>
                  <a:cubicBezTo>
                    <a:pt x="3309434" y="1963016"/>
                    <a:pt x="3013979" y="2258471"/>
                    <a:pt x="2649521" y="2258471"/>
                  </a:cubicBezTo>
                  <a:lnTo>
                    <a:pt x="2649501" y="2258467"/>
                  </a:lnTo>
                  <a:lnTo>
                    <a:pt x="1763246" y="2258467"/>
                  </a:lnTo>
                  <a:lnTo>
                    <a:pt x="1763246" y="2015630"/>
                  </a:lnTo>
                  <a:lnTo>
                    <a:pt x="1772024" y="2014745"/>
                  </a:lnTo>
                  <a:cubicBezTo>
                    <a:pt x="1867036" y="1995303"/>
                    <a:pt x="1951959" y="1948165"/>
                    <a:pt x="2017990" y="1882134"/>
                  </a:cubicBezTo>
                  <a:lnTo>
                    <a:pt x="2052965" y="1839743"/>
                  </a:lnTo>
                  <a:lnTo>
                    <a:pt x="2317440" y="1992438"/>
                  </a:lnTo>
                  <a:lnTo>
                    <a:pt x="2236929" y="2131887"/>
                  </a:lnTo>
                  <a:lnTo>
                    <a:pt x="2574490" y="2048736"/>
                  </a:lnTo>
                  <a:lnTo>
                    <a:pt x="2477721" y="1714823"/>
                  </a:lnTo>
                  <a:lnTo>
                    <a:pt x="2397210" y="1854272"/>
                  </a:lnTo>
                  <a:lnTo>
                    <a:pt x="2130667" y="1700384"/>
                  </a:lnTo>
                  <a:lnTo>
                    <a:pt x="2150601" y="1636168"/>
                  </a:lnTo>
                  <a:cubicBezTo>
                    <a:pt x="2157082" y="1604497"/>
                    <a:pt x="2160485" y="1571706"/>
                    <a:pt x="2160485" y="1538119"/>
                  </a:cubicBezTo>
                  <a:cubicBezTo>
                    <a:pt x="2160485" y="1504533"/>
                    <a:pt x="2157082" y="1471741"/>
                    <a:pt x="2150601" y="1440071"/>
                  </a:cubicBezTo>
                  <a:lnTo>
                    <a:pt x="2127329" y="1365100"/>
                  </a:lnTo>
                  <a:lnTo>
                    <a:pt x="2398569" y="1208499"/>
                  </a:lnTo>
                  <a:lnTo>
                    <a:pt x="2479080" y="1347948"/>
                  </a:lnTo>
                  <a:lnTo>
                    <a:pt x="2575849" y="1014036"/>
                  </a:lnTo>
                  <a:lnTo>
                    <a:pt x="2238288" y="930884"/>
                  </a:lnTo>
                  <a:lnTo>
                    <a:pt x="2318799" y="1070333"/>
                  </a:lnTo>
                  <a:lnTo>
                    <a:pt x="2045877" y="1227905"/>
                  </a:lnTo>
                  <a:lnTo>
                    <a:pt x="2017990" y="1194105"/>
                  </a:lnTo>
                  <a:cubicBezTo>
                    <a:pt x="1951959" y="1128074"/>
                    <a:pt x="1867036" y="1080936"/>
                    <a:pt x="1772024" y="1061493"/>
                  </a:cubicBezTo>
                  <a:lnTo>
                    <a:pt x="1748359" y="1059108"/>
                  </a:lnTo>
                  <a:lnTo>
                    <a:pt x="1748359" y="766561"/>
                  </a:lnTo>
                  <a:lnTo>
                    <a:pt x="1909381" y="766561"/>
                  </a:lnTo>
                  <a:lnTo>
                    <a:pt x="1668589" y="515800"/>
                  </a:lnTo>
                  <a:lnTo>
                    <a:pt x="1427797" y="766561"/>
                  </a:lnTo>
                  <a:lnTo>
                    <a:pt x="1588819" y="766561"/>
                  </a:lnTo>
                  <a:lnTo>
                    <a:pt x="1588819" y="1060194"/>
                  </a:lnTo>
                  <a:lnTo>
                    <a:pt x="1575927" y="1061493"/>
                  </a:lnTo>
                  <a:cubicBezTo>
                    <a:pt x="1480915" y="1080936"/>
                    <a:pt x="1395991" y="1128074"/>
                    <a:pt x="1329960" y="1194105"/>
                  </a:cubicBezTo>
                  <a:lnTo>
                    <a:pt x="1287232" y="1245892"/>
                  </a:lnTo>
                  <a:lnTo>
                    <a:pt x="1026832" y="1095549"/>
                  </a:lnTo>
                  <a:lnTo>
                    <a:pt x="1107343" y="956100"/>
                  </a:lnTo>
                  <a:lnTo>
                    <a:pt x="769782" y="1039252"/>
                  </a:lnTo>
                  <a:lnTo>
                    <a:pt x="866551" y="1373164"/>
                  </a:lnTo>
                  <a:lnTo>
                    <a:pt x="947062" y="1233715"/>
                  </a:lnTo>
                  <a:lnTo>
                    <a:pt x="1213631" y="1387619"/>
                  </a:lnTo>
                  <a:lnTo>
                    <a:pt x="1197349" y="1440071"/>
                  </a:lnTo>
                  <a:cubicBezTo>
                    <a:pt x="1190868" y="1471741"/>
                    <a:pt x="1187465" y="1504533"/>
                    <a:pt x="1187465" y="1538119"/>
                  </a:cubicBezTo>
                  <a:cubicBezTo>
                    <a:pt x="1187465" y="1571706"/>
                    <a:pt x="1190868" y="1604497"/>
                    <a:pt x="1197349" y="1636168"/>
                  </a:cubicBezTo>
                  <a:lnTo>
                    <a:pt x="1222347" y="1716700"/>
                  </a:lnTo>
                  <a:lnTo>
                    <a:pt x="968458" y="1863283"/>
                  </a:lnTo>
                  <a:lnTo>
                    <a:pt x="887947" y="1723834"/>
                  </a:lnTo>
                  <a:lnTo>
                    <a:pt x="791178" y="2057747"/>
                  </a:lnTo>
                  <a:lnTo>
                    <a:pt x="1128739" y="2140898"/>
                  </a:lnTo>
                  <a:lnTo>
                    <a:pt x="1048228" y="2001449"/>
                  </a:lnTo>
                  <a:lnTo>
                    <a:pt x="1305738" y="1852776"/>
                  </a:lnTo>
                  <a:lnTo>
                    <a:pt x="1329960" y="1882134"/>
                  </a:lnTo>
                  <a:cubicBezTo>
                    <a:pt x="1395991" y="1948165"/>
                    <a:pt x="1480915" y="1995303"/>
                    <a:pt x="1575927" y="2014745"/>
                  </a:cubicBezTo>
                  <a:lnTo>
                    <a:pt x="1583476" y="2015506"/>
                  </a:lnTo>
                  <a:lnTo>
                    <a:pt x="1583476" y="2257267"/>
                  </a:lnTo>
                  <a:lnTo>
                    <a:pt x="1758474" y="2257267"/>
                  </a:lnTo>
                  <a:lnTo>
                    <a:pt x="1758474" y="2692027"/>
                  </a:lnTo>
                  <a:lnTo>
                    <a:pt x="1772705" y="2696444"/>
                  </a:lnTo>
                  <a:cubicBezTo>
                    <a:pt x="1868709" y="2737050"/>
                    <a:pt x="1936071" y="2832112"/>
                    <a:pt x="1936071" y="2942906"/>
                  </a:cubicBezTo>
                  <a:cubicBezTo>
                    <a:pt x="1936071" y="3090632"/>
                    <a:pt x="1816315" y="3210388"/>
                    <a:pt x="1668589" y="3210388"/>
                  </a:cubicBezTo>
                  <a:cubicBezTo>
                    <a:pt x="1520863" y="3210388"/>
                    <a:pt x="1401107" y="3090632"/>
                    <a:pt x="1401107" y="2942906"/>
                  </a:cubicBezTo>
                  <a:cubicBezTo>
                    <a:pt x="1401107" y="2832112"/>
                    <a:pt x="1468470" y="2737050"/>
                    <a:pt x="1564473" y="2696444"/>
                  </a:cubicBezTo>
                  <a:lnTo>
                    <a:pt x="1578704" y="2692027"/>
                  </a:lnTo>
                  <a:lnTo>
                    <a:pt x="1578704" y="2258467"/>
                  </a:lnTo>
                  <a:lnTo>
                    <a:pt x="659954" y="2258467"/>
                  </a:lnTo>
                  <a:cubicBezTo>
                    <a:pt x="659942" y="2258475"/>
                    <a:pt x="659925" y="2258475"/>
                    <a:pt x="659913" y="2258475"/>
                  </a:cubicBezTo>
                  <a:cubicBezTo>
                    <a:pt x="295455" y="2258475"/>
                    <a:pt x="0" y="1963020"/>
                    <a:pt x="0" y="1598563"/>
                  </a:cubicBezTo>
                  <a:cubicBezTo>
                    <a:pt x="0" y="1307168"/>
                    <a:pt x="188874" y="1059880"/>
                    <a:pt x="453504" y="980322"/>
                  </a:cubicBezTo>
                  <a:cubicBezTo>
                    <a:pt x="429507" y="930246"/>
                    <a:pt x="420413" y="874397"/>
                    <a:pt x="420413" y="816422"/>
                  </a:cubicBezTo>
                  <a:cubicBezTo>
                    <a:pt x="420413" y="516767"/>
                    <a:pt x="663329" y="273851"/>
                    <a:pt x="962984" y="273851"/>
                  </a:cubicBezTo>
                  <a:cubicBezTo>
                    <a:pt x="1137960" y="273851"/>
                    <a:pt x="1293591" y="356678"/>
                    <a:pt x="1385721" y="490734"/>
                  </a:cubicBezTo>
                  <a:cubicBezTo>
                    <a:pt x="1498567" y="203005"/>
                    <a:pt x="1779037" y="0"/>
                    <a:pt x="2106918"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45718"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4" name="Service Bus Name"/>
            <p:cNvSpPr txBox="1"/>
            <p:nvPr/>
          </p:nvSpPr>
          <p:spPr>
            <a:xfrm>
              <a:off x="391485" y="3425090"/>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ERVICE BUS</a:t>
              </a:r>
              <a:endParaRPr lang="en-US" sz="650" dirty="0">
                <a:solidFill>
                  <a:srgbClr val="FFFFFF"/>
                </a:solidFill>
                <a:latin typeface="Segoe UI" panose="020B0502040204020203" pitchFamily="34" charset="0"/>
                <a:cs typeface="Segoe UI" panose="020B0502040204020203" pitchFamily="34" charset="0"/>
              </a:endParaRPr>
            </a:p>
          </p:txBody>
        </p:sp>
        <p:sp>
          <p:nvSpPr>
            <p:cNvPr id="25" name="Service Bus Icon"/>
            <p:cNvSpPr>
              <a:spLocks noChangeAspect="1"/>
            </p:cNvSpPr>
            <p:nvPr/>
          </p:nvSpPr>
          <p:spPr>
            <a:xfrm>
              <a:off x="97855" y="3449954"/>
              <a:ext cx="236391" cy="269075"/>
            </a:xfrm>
            <a:custGeom>
              <a:avLst/>
              <a:gdLst>
                <a:gd name="connsiteX0" fmla="*/ 109937 w 393631"/>
                <a:gd name="connsiteY0" fmla="*/ 255147 h 448056"/>
                <a:gd name="connsiteX1" fmla="*/ 159550 w 393631"/>
                <a:gd name="connsiteY1" fmla="*/ 255147 h 448056"/>
                <a:gd name="connsiteX2" fmla="*/ 159550 w 393631"/>
                <a:gd name="connsiteY2" fmla="*/ 356612 h 448056"/>
                <a:gd name="connsiteX3" fmla="*/ 193061 w 393631"/>
                <a:gd name="connsiteY3" fmla="*/ 356612 h 448056"/>
                <a:gd name="connsiteX4" fmla="*/ 134430 w 393631"/>
                <a:gd name="connsiteY4" fmla="*/ 448056 h 448056"/>
                <a:gd name="connsiteX5" fmla="*/ 75800 w 393631"/>
                <a:gd name="connsiteY5" fmla="*/ 356612 h 448056"/>
                <a:gd name="connsiteX6" fmla="*/ 109937 w 393631"/>
                <a:gd name="connsiteY6" fmla="*/ 356612 h 448056"/>
                <a:gd name="connsiteX7" fmla="*/ 85131 w 393631"/>
                <a:gd name="connsiteY7" fmla="*/ 207227 h 448056"/>
                <a:gd name="connsiteX8" fmla="*/ 197505 w 393631"/>
                <a:gd name="connsiteY8" fmla="*/ 207227 h 448056"/>
                <a:gd name="connsiteX9" fmla="*/ 197505 w 393631"/>
                <a:gd name="connsiteY9" fmla="*/ 233451 h 448056"/>
                <a:gd name="connsiteX10" fmla="*/ 85131 w 393631"/>
                <a:gd name="connsiteY10" fmla="*/ 233451 h 448056"/>
                <a:gd name="connsiteX11" fmla="*/ 85131 w 393631"/>
                <a:gd name="connsiteY11" fmla="*/ 170997 h 448056"/>
                <a:gd name="connsiteX12" fmla="*/ 197505 w 393631"/>
                <a:gd name="connsiteY12" fmla="*/ 170997 h 448056"/>
                <a:gd name="connsiteX13" fmla="*/ 197505 w 393631"/>
                <a:gd name="connsiteY13" fmla="*/ 197220 h 448056"/>
                <a:gd name="connsiteX14" fmla="*/ 85131 w 393631"/>
                <a:gd name="connsiteY14" fmla="*/ 197220 h 448056"/>
                <a:gd name="connsiteX15" fmla="*/ 85131 w 393631"/>
                <a:gd name="connsiteY15" fmla="*/ 134440 h 448056"/>
                <a:gd name="connsiteX16" fmla="*/ 197505 w 393631"/>
                <a:gd name="connsiteY16" fmla="*/ 134440 h 448056"/>
                <a:gd name="connsiteX17" fmla="*/ 197505 w 393631"/>
                <a:gd name="connsiteY17" fmla="*/ 160663 h 448056"/>
                <a:gd name="connsiteX18" fmla="*/ 85131 w 393631"/>
                <a:gd name="connsiteY18" fmla="*/ 160663 h 448056"/>
                <a:gd name="connsiteX19" fmla="*/ 184780 w 393631"/>
                <a:gd name="connsiteY19" fmla="*/ 33581 h 448056"/>
                <a:gd name="connsiteX20" fmla="*/ 306050 w 393631"/>
                <a:gd name="connsiteY20" fmla="*/ 165478 h 448056"/>
                <a:gd name="connsiteX21" fmla="*/ 306020 w 393631"/>
                <a:gd name="connsiteY21" fmla="*/ 182421 h 448056"/>
                <a:gd name="connsiteX22" fmla="*/ 323294 w 393631"/>
                <a:gd name="connsiteY22" fmla="*/ 182360 h 448056"/>
                <a:gd name="connsiteX23" fmla="*/ 323488 w 393631"/>
                <a:gd name="connsiteY23" fmla="*/ 182529 h 448056"/>
                <a:gd name="connsiteX24" fmla="*/ 323884 w 393631"/>
                <a:gd name="connsiteY24" fmla="*/ 182479 h 448056"/>
                <a:gd name="connsiteX25" fmla="*/ 392213 w 393631"/>
                <a:gd name="connsiteY25" fmla="*/ 238169 h 448056"/>
                <a:gd name="connsiteX26" fmla="*/ 393429 w 393631"/>
                <a:gd name="connsiteY26" fmla="*/ 250233 h 448056"/>
                <a:gd name="connsiteX27" fmla="*/ 393631 w 393631"/>
                <a:gd name="connsiteY27" fmla="*/ 250276 h 448056"/>
                <a:gd name="connsiteX28" fmla="*/ 393630 w 393631"/>
                <a:gd name="connsiteY28" fmla="*/ 331260 h 448056"/>
                <a:gd name="connsiteX29" fmla="*/ 344017 w 393631"/>
                <a:gd name="connsiteY29" fmla="*/ 331260 h 448056"/>
                <a:gd name="connsiteX30" fmla="*/ 184779 w 393631"/>
                <a:gd name="connsiteY30" fmla="*/ 331260 h 448056"/>
                <a:gd name="connsiteX31" fmla="*/ 184779 w 393631"/>
                <a:gd name="connsiteY31" fmla="*/ 281647 h 448056"/>
                <a:gd name="connsiteX32" fmla="*/ 343713 w 393631"/>
                <a:gd name="connsiteY32" fmla="*/ 281647 h 448056"/>
                <a:gd name="connsiteX33" fmla="*/ 343607 w 393631"/>
                <a:gd name="connsiteY33" fmla="*/ 274792 h 448056"/>
                <a:gd name="connsiteX34" fmla="*/ 343896 w 393631"/>
                <a:gd name="connsiteY34" fmla="*/ 272497 h 448056"/>
                <a:gd name="connsiteX35" fmla="*/ 311588 w 393631"/>
                <a:gd name="connsiteY35" fmla="*/ 232857 h 448056"/>
                <a:gd name="connsiteX36" fmla="*/ 306587 w 393631"/>
                <a:gd name="connsiteY36" fmla="*/ 232353 h 448056"/>
                <a:gd name="connsiteX37" fmla="*/ 306020 w 393631"/>
                <a:gd name="connsiteY37" fmla="*/ 232034 h 448056"/>
                <a:gd name="connsiteX38" fmla="*/ 256407 w 393631"/>
                <a:gd name="connsiteY38" fmla="*/ 232034 h 448056"/>
                <a:gd name="connsiteX39" fmla="*/ 256407 w 393631"/>
                <a:gd name="connsiteY39" fmla="*/ 232034 h 448056"/>
                <a:gd name="connsiteX40" fmla="*/ 256407 w 393631"/>
                <a:gd name="connsiteY40" fmla="*/ 185664 h 448056"/>
                <a:gd name="connsiteX41" fmla="*/ 256224 w 393631"/>
                <a:gd name="connsiteY41" fmla="*/ 169895 h 448056"/>
                <a:gd name="connsiteX42" fmla="*/ 184780 w 393631"/>
                <a:gd name="connsiteY42" fmla="*/ 82923 h 448056"/>
                <a:gd name="connsiteX43" fmla="*/ 0 w 393631"/>
                <a:gd name="connsiteY43" fmla="*/ 0 h 448056"/>
                <a:gd name="connsiteX44" fmla="*/ 159659 w 393631"/>
                <a:gd name="connsiteY44" fmla="*/ 0 h 448056"/>
                <a:gd name="connsiteX45" fmla="*/ 159659 w 393631"/>
                <a:gd name="connsiteY45" fmla="*/ 49613 h 448056"/>
                <a:gd name="connsiteX46" fmla="*/ 159237 w 393631"/>
                <a:gd name="connsiteY46" fmla="*/ 49613 h 448056"/>
                <a:gd name="connsiteX47" fmla="*/ 159237 w 393631"/>
                <a:gd name="connsiteY47" fmla="*/ 110480 h 448056"/>
                <a:gd name="connsiteX48" fmla="*/ 109624 w 393631"/>
                <a:gd name="connsiteY48" fmla="*/ 110480 h 448056"/>
                <a:gd name="connsiteX49" fmla="*/ 109624 w 393631"/>
                <a:gd name="connsiteY49" fmla="*/ 49613 h 448056"/>
                <a:gd name="connsiteX50" fmla="*/ 49613 w 393631"/>
                <a:gd name="connsiteY50" fmla="*/ 49613 h 448056"/>
                <a:gd name="connsiteX51" fmla="*/ 49613 w 393631"/>
                <a:gd name="connsiteY51" fmla="*/ 281647 h 448056"/>
                <a:gd name="connsiteX52" fmla="*/ 84708 w 393631"/>
                <a:gd name="connsiteY52" fmla="*/ 281647 h 448056"/>
                <a:gd name="connsiteX53" fmla="*/ 84708 w 393631"/>
                <a:gd name="connsiteY53" fmla="*/ 331260 h 448056"/>
                <a:gd name="connsiteX54" fmla="*/ 49613 w 393631"/>
                <a:gd name="connsiteY54" fmla="*/ 331260 h 448056"/>
                <a:gd name="connsiteX55" fmla="*/ 49613 w 393631"/>
                <a:gd name="connsiteY55" fmla="*/ 331261 h 448056"/>
                <a:gd name="connsiteX56" fmla="*/ 0 w 393631"/>
                <a:gd name="connsiteY56" fmla="*/ 331261 h 448056"/>
                <a:gd name="connsiteX57" fmla="*/ 0 w 393631"/>
                <a:gd name="connsiteY57" fmla="*/ 49613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3631" h="448056">
                  <a:moveTo>
                    <a:pt x="109937" y="255147"/>
                  </a:moveTo>
                  <a:lnTo>
                    <a:pt x="159550" y="255147"/>
                  </a:lnTo>
                  <a:lnTo>
                    <a:pt x="159550" y="356612"/>
                  </a:lnTo>
                  <a:lnTo>
                    <a:pt x="193061" y="356612"/>
                  </a:lnTo>
                  <a:lnTo>
                    <a:pt x="134430" y="448056"/>
                  </a:lnTo>
                  <a:lnTo>
                    <a:pt x="75800" y="356612"/>
                  </a:lnTo>
                  <a:lnTo>
                    <a:pt x="109937" y="356612"/>
                  </a:lnTo>
                  <a:close/>
                  <a:moveTo>
                    <a:pt x="85131" y="207227"/>
                  </a:moveTo>
                  <a:lnTo>
                    <a:pt x="197505" y="207227"/>
                  </a:lnTo>
                  <a:lnTo>
                    <a:pt x="197505" y="233451"/>
                  </a:lnTo>
                  <a:lnTo>
                    <a:pt x="85131" y="233451"/>
                  </a:lnTo>
                  <a:close/>
                  <a:moveTo>
                    <a:pt x="85131" y="170997"/>
                  </a:moveTo>
                  <a:lnTo>
                    <a:pt x="197505" y="170997"/>
                  </a:lnTo>
                  <a:lnTo>
                    <a:pt x="197505" y="197220"/>
                  </a:lnTo>
                  <a:lnTo>
                    <a:pt x="85131" y="197220"/>
                  </a:lnTo>
                  <a:close/>
                  <a:moveTo>
                    <a:pt x="85131" y="134440"/>
                  </a:moveTo>
                  <a:lnTo>
                    <a:pt x="197505" y="134440"/>
                  </a:lnTo>
                  <a:lnTo>
                    <a:pt x="197505" y="160663"/>
                  </a:lnTo>
                  <a:lnTo>
                    <a:pt x="85131" y="160663"/>
                  </a:lnTo>
                  <a:close/>
                  <a:moveTo>
                    <a:pt x="184780" y="33581"/>
                  </a:moveTo>
                  <a:cubicBezTo>
                    <a:pt x="261578" y="34045"/>
                    <a:pt x="305265" y="121522"/>
                    <a:pt x="306050" y="165478"/>
                  </a:cubicBezTo>
                  <a:lnTo>
                    <a:pt x="306020" y="182421"/>
                  </a:lnTo>
                  <a:cubicBezTo>
                    <a:pt x="316588" y="182400"/>
                    <a:pt x="312726" y="182381"/>
                    <a:pt x="323294" y="182360"/>
                  </a:cubicBezTo>
                  <a:lnTo>
                    <a:pt x="323488" y="182529"/>
                  </a:lnTo>
                  <a:cubicBezTo>
                    <a:pt x="323620" y="182512"/>
                    <a:pt x="323752" y="182496"/>
                    <a:pt x="323884" y="182479"/>
                  </a:cubicBezTo>
                  <a:cubicBezTo>
                    <a:pt x="357589" y="182479"/>
                    <a:pt x="385710" y="206387"/>
                    <a:pt x="392213" y="238169"/>
                  </a:cubicBezTo>
                  <a:lnTo>
                    <a:pt x="393429" y="250233"/>
                  </a:lnTo>
                  <a:lnTo>
                    <a:pt x="393631" y="250276"/>
                  </a:lnTo>
                  <a:lnTo>
                    <a:pt x="393630" y="331260"/>
                  </a:lnTo>
                  <a:lnTo>
                    <a:pt x="344017" y="331260"/>
                  </a:lnTo>
                  <a:lnTo>
                    <a:pt x="184779" y="331260"/>
                  </a:lnTo>
                  <a:lnTo>
                    <a:pt x="184779" y="281647"/>
                  </a:lnTo>
                  <a:lnTo>
                    <a:pt x="343713" y="281647"/>
                  </a:lnTo>
                  <a:lnTo>
                    <a:pt x="343607" y="274792"/>
                  </a:lnTo>
                  <a:lnTo>
                    <a:pt x="343896" y="272497"/>
                  </a:lnTo>
                  <a:cubicBezTo>
                    <a:pt x="343896" y="252944"/>
                    <a:pt x="330026" y="236630"/>
                    <a:pt x="311588" y="232857"/>
                  </a:cubicBezTo>
                  <a:lnTo>
                    <a:pt x="306587" y="232353"/>
                  </a:lnTo>
                  <a:lnTo>
                    <a:pt x="306020" y="232034"/>
                  </a:lnTo>
                  <a:cubicBezTo>
                    <a:pt x="289483" y="232034"/>
                    <a:pt x="272945" y="232034"/>
                    <a:pt x="256407" y="232034"/>
                  </a:cubicBezTo>
                  <a:lnTo>
                    <a:pt x="256407" y="232034"/>
                  </a:lnTo>
                  <a:lnTo>
                    <a:pt x="256407" y="185664"/>
                  </a:lnTo>
                  <a:lnTo>
                    <a:pt x="256224" y="169895"/>
                  </a:lnTo>
                  <a:cubicBezTo>
                    <a:pt x="255813" y="119010"/>
                    <a:pt x="206943" y="83044"/>
                    <a:pt x="184780" y="82923"/>
                  </a:cubicBezTo>
                  <a:close/>
                  <a:moveTo>
                    <a:pt x="0" y="0"/>
                  </a:moveTo>
                  <a:lnTo>
                    <a:pt x="159659" y="0"/>
                  </a:lnTo>
                  <a:lnTo>
                    <a:pt x="159659" y="49613"/>
                  </a:lnTo>
                  <a:lnTo>
                    <a:pt x="159237" y="49613"/>
                  </a:lnTo>
                  <a:lnTo>
                    <a:pt x="159237" y="110480"/>
                  </a:lnTo>
                  <a:lnTo>
                    <a:pt x="109624" y="110480"/>
                  </a:lnTo>
                  <a:lnTo>
                    <a:pt x="109624" y="49613"/>
                  </a:lnTo>
                  <a:lnTo>
                    <a:pt x="49613" y="49613"/>
                  </a:lnTo>
                  <a:lnTo>
                    <a:pt x="49613" y="281647"/>
                  </a:lnTo>
                  <a:lnTo>
                    <a:pt x="84708" y="281647"/>
                  </a:lnTo>
                  <a:lnTo>
                    <a:pt x="84708" y="331260"/>
                  </a:lnTo>
                  <a:lnTo>
                    <a:pt x="49613" y="331260"/>
                  </a:lnTo>
                  <a:lnTo>
                    <a:pt x="49613" y="331261"/>
                  </a:lnTo>
                  <a:lnTo>
                    <a:pt x="0" y="331261"/>
                  </a:lnTo>
                  <a:lnTo>
                    <a:pt x="0" y="4961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26" name="Media Services Name"/>
            <p:cNvSpPr txBox="1"/>
            <p:nvPr/>
          </p:nvSpPr>
          <p:spPr>
            <a:xfrm>
              <a:off x="391485" y="3067114"/>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MEDIA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27" name="Media Services Icon"/>
            <p:cNvSpPr>
              <a:spLocks noChangeAspect="1"/>
            </p:cNvSpPr>
            <p:nvPr/>
          </p:nvSpPr>
          <p:spPr>
            <a:xfrm>
              <a:off x="102957" y="3082978"/>
              <a:ext cx="226187" cy="262377"/>
            </a:xfrm>
            <a:custGeom>
              <a:avLst/>
              <a:gdLst>
                <a:gd name="connsiteX0" fmla="*/ 0 w 2757610"/>
                <a:gd name="connsiteY0" fmla="*/ 1770686 h 3198830"/>
                <a:gd name="connsiteX1" fmla="*/ 342940 w 2757610"/>
                <a:gd name="connsiteY1" fmla="*/ 1770686 h 3198830"/>
                <a:gd name="connsiteX2" fmla="*/ 347071 w 2757610"/>
                <a:gd name="connsiteY2" fmla="*/ 1811658 h 3198830"/>
                <a:gd name="connsiteX3" fmla="*/ 1378805 w 2757610"/>
                <a:gd name="connsiteY3" fmla="*/ 2652545 h 3198830"/>
                <a:gd name="connsiteX4" fmla="*/ 2410539 w 2757610"/>
                <a:gd name="connsiteY4" fmla="*/ 1811658 h 3198830"/>
                <a:gd name="connsiteX5" fmla="*/ 2414669 w 2757610"/>
                <a:gd name="connsiteY5" fmla="*/ 1770686 h 3198830"/>
                <a:gd name="connsiteX6" fmla="*/ 2757610 w 2757610"/>
                <a:gd name="connsiteY6" fmla="*/ 1770686 h 3198830"/>
                <a:gd name="connsiteX7" fmla="*/ 2757610 w 2757610"/>
                <a:gd name="connsiteY7" fmla="*/ 2394324 h 3198830"/>
                <a:gd name="connsiteX8" fmla="*/ 1378805 w 2757610"/>
                <a:gd name="connsiteY8" fmla="*/ 3198830 h 3198830"/>
                <a:gd name="connsiteX9" fmla="*/ 0 w 2757610"/>
                <a:gd name="connsiteY9" fmla="*/ 2394324 h 3198830"/>
                <a:gd name="connsiteX10" fmla="*/ 1135257 w 2757610"/>
                <a:gd name="connsiteY10" fmla="*/ 1183744 h 3198830"/>
                <a:gd name="connsiteX11" fmla="*/ 1135257 w 2757610"/>
                <a:gd name="connsiteY11" fmla="*/ 2015086 h 3198830"/>
                <a:gd name="connsiteX12" fmla="*/ 1761253 w 2757610"/>
                <a:gd name="connsiteY12" fmla="*/ 1599415 h 3198830"/>
                <a:gd name="connsiteX13" fmla="*/ 1378805 w 2757610"/>
                <a:gd name="connsiteY13" fmla="*/ 852338 h 3198830"/>
                <a:gd name="connsiteX14" fmla="*/ 2125882 w 2757610"/>
                <a:gd name="connsiteY14" fmla="*/ 1599415 h 3198830"/>
                <a:gd name="connsiteX15" fmla="*/ 1378805 w 2757610"/>
                <a:gd name="connsiteY15" fmla="*/ 2346492 h 3198830"/>
                <a:gd name="connsiteX16" fmla="*/ 631728 w 2757610"/>
                <a:gd name="connsiteY16" fmla="*/ 1599415 h 3198830"/>
                <a:gd name="connsiteX17" fmla="*/ 1378805 w 2757610"/>
                <a:gd name="connsiteY17" fmla="*/ 852338 h 3198830"/>
                <a:gd name="connsiteX18" fmla="*/ 1378805 w 2757610"/>
                <a:gd name="connsiteY18" fmla="*/ 0 h 3198830"/>
                <a:gd name="connsiteX19" fmla="*/ 2757610 w 2757610"/>
                <a:gd name="connsiteY19" fmla="*/ 804506 h 3198830"/>
                <a:gd name="connsiteX20" fmla="*/ 2757610 w 2757610"/>
                <a:gd name="connsiteY20" fmla="*/ 1428144 h 3198830"/>
                <a:gd name="connsiteX21" fmla="*/ 2414669 w 2757610"/>
                <a:gd name="connsiteY21" fmla="*/ 1428144 h 3198830"/>
                <a:gd name="connsiteX22" fmla="*/ 2410539 w 2757610"/>
                <a:gd name="connsiteY22" fmla="*/ 1387173 h 3198830"/>
                <a:gd name="connsiteX23" fmla="*/ 1378805 w 2757610"/>
                <a:gd name="connsiteY23" fmla="*/ 546285 h 3198830"/>
                <a:gd name="connsiteX24" fmla="*/ 347071 w 2757610"/>
                <a:gd name="connsiteY24" fmla="*/ 1387173 h 3198830"/>
                <a:gd name="connsiteX25" fmla="*/ 342940 w 2757610"/>
                <a:gd name="connsiteY25" fmla="*/ 1428144 h 3198830"/>
                <a:gd name="connsiteX26" fmla="*/ 0 w 2757610"/>
                <a:gd name="connsiteY26" fmla="*/ 1428144 h 3198830"/>
                <a:gd name="connsiteX27" fmla="*/ 0 w 2757610"/>
                <a:gd name="connsiteY27" fmla="*/ 804506 h 319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7610" h="3198830">
                  <a:moveTo>
                    <a:pt x="0" y="1770686"/>
                  </a:moveTo>
                  <a:lnTo>
                    <a:pt x="342940" y="1770686"/>
                  </a:lnTo>
                  <a:lnTo>
                    <a:pt x="347071" y="1811658"/>
                  </a:lnTo>
                  <a:cubicBezTo>
                    <a:pt x="445271" y="2291551"/>
                    <a:pt x="869880" y="2652545"/>
                    <a:pt x="1378805" y="2652545"/>
                  </a:cubicBezTo>
                  <a:cubicBezTo>
                    <a:pt x="1887729" y="2652545"/>
                    <a:pt x="2312339" y="2291551"/>
                    <a:pt x="2410539" y="1811658"/>
                  </a:cubicBezTo>
                  <a:lnTo>
                    <a:pt x="2414669" y="1770686"/>
                  </a:lnTo>
                  <a:lnTo>
                    <a:pt x="2757610" y="1770686"/>
                  </a:lnTo>
                  <a:lnTo>
                    <a:pt x="2757610" y="2394324"/>
                  </a:lnTo>
                  <a:lnTo>
                    <a:pt x="1378805" y="3198830"/>
                  </a:lnTo>
                  <a:lnTo>
                    <a:pt x="0" y="2394324"/>
                  </a:lnTo>
                  <a:close/>
                  <a:moveTo>
                    <a:pt x="1135257" y="1183744"/>
                  </a:moveTo>
                  <a:lnTo>
                    <a:pt x="1135257" y="2015086"/>
                  </a:lnTo>
                  <a:lnTo>
                    <a:pt x="1761253" y="1599415"/>
                  </a:lnTo>
                  <a:close/>
                  <a:moveTo>
                    <a:pt x="1378805" y="852338"/>
                  </a:moveTo>
                  <a:cubicBezTo>
                    <a:pt x="1791404" y="852338"/>
                    <a:pt x="2125882" y="1186816"/>
                    <a:pt x="2125882" y="1599415"/>
                  </a:cubicBezTo>
                  <a:cubicBezTo>
                    <a:pt x="2125882" y="2012014"/>
                    <a:pt x="1791404" y="2346492"/>
                    <a:pt x="1378805" y="2346492"/>
                  </a:cubicBezTo>
                  <a:cubicBezTo>
                    <a:pt x="966206" y="2346492"/>
                    <a:pt x="631728" y="2012014"/>
                    <a:pt x="631728" y="1599415"/>
                  </a:cubicBezTo>
                  <a:cubicBezTo>
                    <a:pt x="631728" y="1186816"/>
                    <a:pt x="966206" y="852338"/>
                    <a:pt x="1378805" y="852338"/>
                  </a:cubicBezTo>
                  <a:close/>
                  <a:moveTo>
                    <a:pt x="1378805" y="0"/>
                  </a:moveTo>
                  <a:lnTo>
                    <a:pt x="2757610" y="804506"/>
                  </a:lnTo>
                  <a:lnTo>
                    <a:pt x="2757610" y="1428144"/>
                  </a:lnTo>
                  <a:lnTo>
                    <a:pt x="2414669" y="1428144"/>
                  </a:lnTo>
                  <a:lnTo>
                    <a:pt x="2410539" y="1387173"/>
                  </a:lnTo>
                  <a:cubicBezTo>
                    <a:pt x="2312339" y="907279"/>
                    <a:pt x="1887729" y="546285"/>
                    <a:pt x="1378805" y="546285"/>
                  </a:cubicBezTo>
                  <a:cubicBezTo>
                    <a:pt x="869880" y="546285"/>
                    <a:pt x="445271" y="907279"/>
                    <a:pt x="347071" y="1387173"/>
                  </a:cubicBezTo>
                  <a:lnTo>
                    <a:pt x="342940" y="1428144"/>
                  </a:lnTo>
                  <a:lnTo>
                    <a:pt x="0" y="1428144"/>
                  </a:lnTo>
                  <a:lnTo>
                    <a:pt x="0" y="80450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28" name="HDInsight Name"/>
            <p:cNvSpPr txBox="1"/>
            <p:nvPr/>
          </p:nvSpPr>
          <p:spPr>
            <a:xfrm>
              <a:off x="391485" y="2704448"/>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HDINSIGHT</a:t>
              </a:r>
              <a:endParaRPr lang="en-US" sz="650" dirty="0">
                <a:solidFill>
                  <a:srgbClr val="FFFFFF"/>
                </a:solidFill>
                <a:latin typeface="Segoe UI" panose="020B0502040204020203" pitchFamily="34" charset="0"/>
                <a:cs typeface="Segoe UI" panose="020B0502040204020203" pitchFamily="34" charset="0"/>
              </a:endParaRPr>
            </a:p>
          </p:txBody>
        </p:sp>
        <p:sp>
          <p:nvSpPr>
            <p:cNvPr id="29" name="HDInsight Icon"/>
            <p:cNvSpPr>
              <a:spLocks noChangeAspect="1"/>
            </p:cNvSpPr>
            <p:nvPr/>
          </p:nvSpPr>
          <p:spPr>
            <a:xfrm>
              <a:off x="97066" y="2732430"/>
              <a:ext cx="237969" cy="242750"/>
            </a:xfrm>
            <a:custGeom>
              <a:avLst/>
              <a:gdLst>
                <a:gd name="connsiteX0" fmla="*/ 1588738 w 4072037"/>
                <a:gd name="connsiteY0" fmla="*/ 3292794 h 4153852"/>
                <a:gd name="connsiteX1" fmla="*/ 1933251 w 4072037"/>
                <a:gd name="connsiteY1" fmla="*/ 3292794 h 4153852"/>
                <a:gd name="connsiteX2" fmla="*/ 1933251 w 4072037"/>
                <a:gd name="connsiteY2" fmla="*/ 3526474 h 4153852"/>
                <a:gd name="connsiteX3" fmla="*/ 1588738 w 4072037"/>
                <a:gd name="connsiteY3" fmla="*/ 3526474 h 4153852"/>
                <a:gd name="connsiteX4" fmla="*/ 1038478 w 4072037"/>
                <a:gd name="connsiteY4" fmla="*/ 2835594 h 4153852"/>
                <a:gd name="connsiteX5" fmla="*/ 1365218 w 4072037"/>
                <a:gd name="connsiteY5" fmla="*/ 2835594 h 4153852"/>
                <a:gd name="connsiteX6" fmla="*/ 1365218 w 4072037"/>
                <a:gd name="connsiteY6" fmla="*/ 3069274 h 4153852"/>
                <a:gd name="connsiteX7" fmla="*/ 840634 w 4072037"/>
                <a:gd name="connsiteY7" fmla="*/ 3069274 h 4153852"/>
                <a:gd name="connsiteX8" fmla="*/ 2156771 w 4072037"/>
                <a:gd name="connsiteY8" fmla="*/ 2378394 h 4153852"/>
                <a:gd name="connsiteX9" fmla="*/ 2375211 w 4072037"/>
                <a:gd name="connsiteY9" fmla="*/ 2378394 h 4153852"/>
                <a:gd name="connsiteX10" fmla="*/ 2375211 w 4072037"/>
                <a:gd name="connsiteY10" fmla="*/ 3069274 h 4153852"/>
                <a:gd name="connsiteX11" fmla="*/ 2156771 w 4072037"/>
                <a:gd name="connsiteY11" fmla="*/ 3069274 h 4153852"/>
                <a:gd name="connsiteX12" fmla="*/ 1425564 w 4072037"/>
                <a:gd name="connsiteY12" fmla="*/ 2378394 h 4153852"/>
                <a:gd name="connsiteX13" fmla="*/ 1933251 w 4072037"/>
                <a:gd name="connsiteY13" fmla="*/ 2378394 h 4153852"/>
                <a:gd name="connsiteX14" fmla="*/ 1933251 w 4072037"/>
                <a:gd name="connsiteY14" fmla="*/ 3069274 h 4153852"/>
                <a:gd name="connsiteX15" fmla="*/ 1588738 w 4072037"/>
                <a:gd name="connsiteY15" fmla="*/ 3069274 h 4153852"/>
                <a:gd name="connsiteX16" fmla="*/ 1588738 w 4072037"/>
                <a:gd name="connsiteY16" fmla="*/ 2612074 h 4153852"/>
                <a:gd name="connsiteX17" fmla="*/ 1587811 w 4072037"/>
                <a:gd name="connsiteY17" fmla="*/ 2612074 h 4153852"/>
                <a:gd name="connsiteX18" fmla="*/ 1365218 w 4072037"/>
                <a:gd name="connsiteY18" fmla="*/ 2612074 h 4153852"/>
                <a:gd name="connsiteX19" fmla="*/ 1227720 w 4072037"/>
                <a:gd name="connsiteY19" fmla="*/ 2612074 h 4153852"/>
                <a:gd name="connsiteX20" fmla="*/ 3539294 w 4072037"/>
                <a:gd name="connsiteY20" fmla="*/ 1958529 h 4153852"/>
                <a:gd name="connsiteX21" fmla="*/ 4072037 w 4072037"/>
                <a:gd name="connsiteY21" fmla="*/ 2267521 h 4153852"/>
                <a:gd name="connsiteX22" fmla="*/ 3539294 w 4072037"/>
                <a:gd name="connsiteY22" fmla="*/ 2576512 h 4153852"/>
                <a:gd name="connsiteX23" fmla="*/ 3539294 w 4072037"/>
                <a:gd name="connsiteY23" fmla="*/ 2378963 h 4153852"/>
                <a:gd name="connsiteX24" fmla="*/ 3175311 w 4072037"/>
                <a:gd name="connsiteY24" fmla="*/ 2378963 h 4153852"/>
                <a:gd name="connsiteX25" fmla="*/ 3175311 w 4072037"/>
                <a:gd name="connsiteY25" fmla="*/ 3638862 h 4153852"/>
                <a:gd name="connsiteX26" fmla="*/ 3175311 w 4072037"/>
                <a:gd name="connsiteY26" fmla="*/ 3669236 h 4153852"/>
                <a:gd name="connsiteX27" fmla="*/ 3165871 w 4072037"/>
                <a:gd name="connsiteY27" fmla="*/ 3669236 h 4153852"/>
                <a:gd name="connsiteX28" fmla="*/ 1587656 w 4072037"/>
                <a:gd name="connsiteY28" fmla="*/ 4153852 h 4153852"/>
                <a:gd name="connsiteX29" fmla="*/ 9441 w 4072037"/>
                <a:gd name="connsiteY29" fmla="*/ 3669236 h 4153852"/>
                <a:gd name="connsiteX30" fmla="*/ 0 w 4072037"/>
                <a:gd name="connsiteY30" fmla="*/ 3669236 h 4153852"/>
                <a:gd name="connsiteX31" fmla="*/ 0 w 4072037"/>
                <a:gd name="connsiteY31" fmla="*/ 3638862 h 4153852"/>
                <a:gd name="connsiteX32" fmla="*/ 0 w 4072037"/>
                <a:gd name="connsiteY32" fmla="*/ 2835594 h 4153852"/>
                <a:gd name="connsiteX33" fmla="*/ 745607 w 4072037"/>
                <a:gd name="connsiteY33" fmla="*/ 2835594 h 4153852"/>
                <a:gd name="connsiteX34" fmla="*/ 564990 w 4072037"/>
                <a:gd name="connsiteY34" fmla="*/ 3048928 h 4153852"/>
                <a:gd name="connsiteX35" fmla="*/ 565533 w 4072037"/>
                <a:gd name="connsiteY35" fmla="*/ 3049388 h 4153852"/>
                <a:gd name="connsiteX36" fmla="*/ 358375 w 4072037"/>
                <a:gd name="connsiteY36" fmla="*/ 3294070 h 4153852"/>
                <a:gd name="connsiteX37" fmla="*/ 650312 w 4072037"/>
                <a:gd name="connsiteY37" fmla="*/ 3294070 h 4153852"/>
                <a:gd name="connsiteX38" fmla="*/ 651392 w 4072037"/>
                <a:gd name="connsiteY38" fmla="*/ 3292794 h 4153852"/>
                <a:gd name="connsiteX39" fmla="*/ 1365218 w 4072037"/>
                <a:gd name="connsiteY39" fmla="*/ 3292794 h 4153852"/>
                <a:gd name="connsiteX40" fmla="*/ 1365218 w 4072037"/>
                <a:gd name="connsiteY40" fmla="*/ 3526474 h 4153852"/>
                <a:gd name="connsiteX41" fmla="*/ 1361751 w 4072037"/>
                <a:gd name="connsiteY41" fmla="*/ 3526474 h 4153852"/>
                <a:gd name="connsiteX42" fmla="*/ 1361751 w 4072037"/>
                <a:gd name="connsiteY42" fmla="*/ 3749994 h 4153852"/>
                <a:gd name="connsiteX43" fmla="*/ 1365218 w 4072037"/>
                <a:gd name="connsiteY43" fmla="*/ 3749994 h 4153852"/>
                <a:gd name="connsiteX44" fmla="*/ 1588738 w 4072037"/>
                <a:gd name="connsiteY44" fmla="*/ 3749994 h 4153852"/>
                <a:gd name="connsiteX45" fmla="*/ 1933251 w 4072037"/>
                <a:gd name="connsiteY45" fmla="*/ 3749994 h 4153852"/>
                <a:gd name="connsiteX46" fmla="*/ 2156771 w 4072037"/>
                <a:gd name="connsiteY46" fmla="*/ 3749994 h 4153852"/>
                <a:gd name="connsiteX47" fmla="*/ 2156771 w 4072037"/>
                <a:gd name="connsiteY47" fmla="*/ 3526474 h 4153852"/>
                <a:gd name="connsiteX48" fmla="*/ 2156771 w 4072037"/>
                <a:gd name="connsiteY48" fmla="*/ 3292794 h 4153852"/>
                <a:gd name="connsiteX49" fmla="*/ 2375211 w 4072037"/>
                <a:gd name="connsiteY49" fmla="*/ 3292794 h 4153852"/>
                <a:gd name="connsiteX50" fmla="*/ 2598731 w 4072037"/>
                <a:gd name="connsiteY50" fmla="*/ 3292794 h 4153852"/>
                <a:gd name="connsiteX51" fmla="*/ 2598731 w 4072037"/>
                <a:gd name="connsiteY51" fmla="*/ 3069274 h 4153852"/>
                <a:gd name="connsiteX52" fmla="*/ 2598731 w 4072037"/>
                <a:gd name="connsiteY52" fmla="*/ 2378394 h 4153852"/>
                <a:gd name="connsiteX53" fmla="*/ 3175311 w 4072037"/>
                <a:gd name="connsiteY53" fmla="*/ 2378394 h 4153852"/>
                <a:gd name="connsiteX54" fmla="*/ 3175311 w 4072037"/>
                <a:gd name="connsiteY54" fmla="*/ 2156077 h 4153852"/>
                <a:gd name="connsiteX55" fmla="*/ 3539294 w 4072037"/>
                <a:gd name="connsiteY55" fmla="*/ 2156077 h 4153852"/>
                <a:gd name="connsiteX56" fmla="*/ 1933251 w 4072037"/>
                <a:gd name="connsiteY56" fmla="*/ 1778749 h 4153852"/>
                <a:gd name="connsiteX57" fmla="*/ 1933251 w 4072037"/>
                <a:gd name="connsiteY57" fmla="*/ 2154874 h 4153852"/>
                <a:gd name="connsiteX58" fmla="*/ 1614806 w 4072037"/>
                <a:gd name="connsiteY58" fmla="*/ 2154874 h 4153852"/>
                <a:gd name="connsiteX59" fmla="*/ 2156771 w 4072037"/>
                <a:gd name="connsiteY59" fmla="*/ 1776416 h 4153852"/>
                <a:gd name="connsiteX60" fmla="*/ 2375211 w 4072037"/>
                <a:gd name="connsiteY60" fmla="*/ 1776416 h 4153852"/>
                <a:gd name="connsiteX61" fmla="*/ 2375211 w 4072037"/>
                <a:gd name="connsiteY61" fmla="*/ 2154874 h 4153852"/>
                <a:gd name="connsiteX62" fmla="*/ 2156771 w 4072037"/>
                <a:gd name="connsiteY62" fmla="*/ 2154874 h 4153852"/>
                <a:gd name="connsiteX63" fmla="*/ 719131 w 4072037"/>
                <a:gd name="connsiteY63" fmla="*/ 1776416 h 4153852"/>
                <a:gd name="connsiteX64" fmla="*/ 1642355 w 4072037"/>
                <a:gd name="connsiteY64" fmla="*/ 1776416 h 4153852"/>
                <a:gd name="connsiteX65" fmla="*/ 1321935 w 4072037"/>
                <a:gd name="connsiteY65" fmla="*/ 2154874 h 4153852"/>
                <a:gd name="connsiteX66" fmla="*/ 719131 w 4072037"/>
                <a:gd name="connsiteY66" fmla="*/ 2154874 h 4153852"/>
                <a:gd name="connsiteX67" fmla="*/ 1587656 w 4072037"/>
                <a:gd name="connsiteY67" fmla="*/ 203080 h 4153852"/>
                <a:gd name="connsiteX68" fmla="*/ 445989 w 4072037"/>
                <a:gd name="connsiteY68" fmla="*/ 573403 h 4153852"/>
                <a:gd name="connsiteX69" fmla="*/ 1587656 w 4072037"/>
                <a:gd name="connsiteY69" fmla="*/ 943727 h 4153852"/>
                <a:gd name="connsiteX70" fmla="*/ 2729323 w 4072037"/>
                <a:gd name="connsiteY70" fmla="*/ 573403 h 4153852"/>
                <a:gd name="connsiteX71" fmla="*/ 1587656 w 4072037"/>
                <a:gd name="connsiteY71" fmla="*/ 203080 h 4153852"/>
                <a:gd name="connsiteX72" fmla="*/ 1587656 w 4072037"/>
                <a:gd name="connsiteY72" fmla="*/ 0 h 4153852"/>
                <a:gd name="connsiteX73" fmla="*/ 3175311 w 4072037"/>
                <a:gd name="connsiteY73" fmla="*/ 514990 h 4153852"/>
                <a:gd name="connsiteX74" fmla="*/ 3175311 w 4072037"/>
                <a:gd name="connsiteY74" fmla="*/ 2154874 h 4153852"/>
                <a:gd name="connsiteX75" fmla="*/ 2598731 w 4072037"/>
                <a:gd name="connsiteY75" fmla="*/ 2154874 h 4153852"/>
                <a:gd name="connsiteX76" fmla="*/ 2598731 w 4072037"/>
                <a:gd name="connsiteY76" fmla="*/ 1776416 h 4153852"/>
                <a:gd name="connsiteX77" fmla="*/ 2598731 w 4072037"/>
                <a:gd name="connsiteY77" fmla="*/ 1552896 h 4153852"/>
                <a:gd name="connsiteX78" fmla="*/ 2375211 w 4072037"/>
                <a:gd name="connsiteY78" fmla="*/ 1552896 h 4153852"/>
                <a:gd name="connsiteX79" fmla="*/ 2156771 w 4072037"/>
                <a:gd name="connsiteY79" fmla="*/ 1552896 h 4153852"/>
                <a:gd name="connsiteX80" fmla="*/ 2156771 w 4072037"/>
                <a:gd name="connsiteY80" fmla="*/ 1514742 h 4153852"/>
                <a:gd name="connsiteX81" fmla="*/ 2157289 w 4072037"/>
                <a:gd name="connsiteY81" fmla="*/ 1514130 h 4153852"/>
                <a:gd name="connsiteX82" fmla="*/ 2157289 w 4072037"/>
                <a:gd name="connsiteY82" fmla="*/ 1168211 h 4153852"/>
                <a:gd name="connsiteX83" fmla="*/ 2156323 w 4072037"/>
                <a:gd name="connsiteY83" fmla="*/ 1169352 h 4153852"/>
                <a:gd name="connsiteX84" fmla="*/ 2156321 w 4072037"/>
                <a:gd name="connsiteY84" fmla="*/ 1169352 h 4153852"/>
                <a:gd name="connsiteX85" fmla="*/ 1933251 w 4072037"/>
                <a:gd name="connsiteY85" fmla="*/ 1432826 h 4153852"/>
                <a:gd name="connsiteX86" fmla="*/ 1933251 w 4072037"/>
                <a:gd name="connsiteY86" fmla="*/ 1432829 h 4153852"/>
                <a:gd name="connsiteX87" fmla="*/ 1831597 w 4072037"/>
                <a:gd name="connsiteY87" fmla="*/ 1552896 h 4153852"/>
                <a:gd name="connsiteX88" fmla="*/ 719131 w 4072037"/>
                <a:gd name="connsiteY88" fmla="*/ 1552896 h 4153852"/>
                <a:gd name="connsiteX89" fmla="*/ 495611 w 4072037"/>
                <a:gd name="connsiteY89" fmla="*/ 1552896 h 4153852"/>
                <a:gd name="connsiteX90" fmla="*/ 495611 w 4072037"/>
                <a:gd name="connsiteY90" fmla="*/ 1776416 h 4153852"/>
                <a:gd name="connsiteX91" fmla="*/ 495611 w 4072037"/>
                <a:gd name="connsiteY91" fmla="*/ 2154874 h 4153852"/>
                <a:gd name="connsiteX92" fmla="*/ 495611 w 4072037"/>
                <a:gd name="connsiteY92" fmla="*/ 2378394 h 4153852"/>
                <a:gd name="connsiteX93" fmla="*/ 719131 w 4072037"/>
                <a:gd name="connsiteY93" fmla="*/ 2378394 h 4153852"/>
                <a:gd name="connsiteX94" fmla="*/ 1132693 w 4072037"/>
                <a:gd name="connsiteY94" fmla="*/ 2378394 h 4153852"/>
                <a:gd name="connsiteX95" fmla="*/ 934849 w 4072037"/>
                <a:gd name="connsiteY95" fmla="*/ 2612074 h 4153852"/>
                <a:gd name="connsiteX96" fmla="*/ 0 w 4072037"/>
                <a:gd name="connsiteY96" fmla="*/ 2612074 h 4153852"/>
                <a:gd name="connsiteX97" fmla="*/ 0 w 4072037"/>
                <a:gd name="connsiteY97" fmla="*/ 514990 h 4153852"/>
                <a:gd name="connsiteX98" fmla="*/ 1587656 w 4072037"/>
                <a:gd name="connsiteY98" fmla="*/ 0 h 415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4072037" h="4153852">
                  <a:moveTo>
                    <a:pt x="1588738" y="3292794"/>
                  </a:moveTo>
                  <a:lnTo>
                    <a:pt x="1933251" y="3292794"/>
                  </a:lnTo>
                  <a:lnTo>
                    <a:pt x="1933251" y="3526474"/>
                  </a:lnTo>
                  <a:lnTo>
                    <a:pt x="1588738" y="3526474"/>
                  </a:lnTo>
                  <a:close/>
                  <a:moveTo>
                    <a:pt x="1038478" y="2835594"/>
                  </a:moveTo>
                  <a:lnTo>
                    <a:pt x="1365218" y="2835594"/>
                  </a:lnTo>
                  <a:lnTo>
                    <a:pt x="1365218" y="3069274"/>
                  </a:lnTo>
                  <a:lnTo>
                    <a:pt x="840634" y="3069274"/>
                  </a:lnTo>
                  <a:close/>
                  <a:moveTo>
                    <a:pt x="2156771" y="2378394"/>
                  </a:moveTo>
                  <a:lnTo>
                    <a:pt x="2375211" y="2378394"/>
                  </a:lnTo>
                  <a:lnTo>
                    <a:pt x="2375211" y="3069274"/>
                  </a:lnTo>
                  <a:lnTo>
                    <a:pt x="2156771" y="3069274"/>
                  </a:lnTo>
                  <a:close/>
                  <a:moveTo>
                    <a:pt x="1425564" y="2378394"/>
                  </a:moveTo>
                  <a:lnTo>
                    <a:pt x="1933251" y="2378394"/>
                  </a:lnTo>
                  <a:lnTo>
                    <a:pt x="1933251" y="3069274"/>
                  </a:lnTo>
                  <a:lnTo>
                    <a:pt x="1588738" y="3069274"/>
                  </a:lnTo>
                  <a:lnTo>
                    <a:pt x="1588738" y="2612074"/>
                  </a:lnTo>
                  <a:lnTo>
                    <a:pt x="1587811" y="2612074"/>
                  </a:lnTo>
                  <a:lnTo>
                    <a:pt x="1365218" y="2612074"/>
                  </a:lnTo>
                  <a:lnTo>
                    <a:pt x="1227720" y="2612074"/>
                  </a:lnTo>
                  <a:close/>
                  <a:moveTo>
                    <a:pt x="3539294" y="1958529"/>
                  </a:moveTo>
                  <a:lnTo>
                    <a:pt x="4072037" y="2267521"/>
                  </a:lnTo>
                  <a:lnTo>
                    <a:pt x="3539294" y="2576512"/>
                  </a:lnTo>
                  <a:lnTo>
                    <a:pt x="3539294" y="2378963"/>
                  </a:lnTo>
                  <a:lnTo>
                    <a:pt x="3175311" y="2378963"/>
                  </a:lnTo>
                  <a:lnTo>
                    <a:pt x="3175311" y="3638862"/>
                  </a:lnTo>
                  <a:lnTo>
                    <a:pt x="3175311" y="3669236"/>
                  </a:lnTo>
                  <a:lnTo>
                    <a:pt x="3165871" y="3669236"/>
                  </a:lnTo>
                  <a:cubicBezTo>
                    <a:pt x="3122109" y="3940150"/>
                    <a:pt x="2431821" y="4153852"/>
                    <a:pt x="1587656" y="4153852"/>
                  </a:cubicBezTo>
                  <a:cubicBezTo>
                    <a:pt x="743490" y="4153852"/>
                    <a:pt x="53206" y="3940150"/>
                    <a:pt x="9441" y="3669236"/>
                  </a:cubicBezTo>
                  <a:lnTo>
                    <a:pt x="0" y="3669236"/>
                  </a:lnTo>
                  <a:lnTo>
                    <a:pt x="0" y="3638862"/>
                  </a:lnTo>
                  <a:lnTo>
                    <a:pt x="0" y="2835594"/>
                  </a:lnTo>
                  <a:lnTo>
                    <a:pt x="745607" y="2835594"/>
                  </a:lnTo>
                  <a:lnTo>
                    <a:pt x="564990" y="3048928"/>
                  </a:lnTo>
                  <a:lnTo>
                    <a:pt x="565533" y="3049388"/>
                  </a:lnTo>
                  <a:lnTo>
                    <a:pt x="358375" y="3294070"/>
                  </a:lnTo>
                  <a:lnTo>
                    <a:pt x="650312" y="3294070"/>
                  </a:lnTo>
                  <a:lnTo>
                    <a:pt x="651392" y="3292794"/>
                  </a:lnTo>
                  <a:lnTo>
                    <a:pt x="1365218" y="3292794"/>
                  </a:lnTo>
                  <a:lnTo>
                    <a:pt x="1365218" y="3526474"/>
                  </a:lnTo>
                  <a:lnTo>
                    <a:pt x="1361751" y="3526474"/>
                  </a:lnTo>
                  <a:lnTo>
                    <a:pt x="1361751" y="3749994"/>
                  </a:lnTo>
                  <a:lnTo>
                    <a:pt x="1365218" y="3749994"/>
                  </a:lnTo>
                  <a:lnTo>
                    <a:pt x="1588738" y="3749994"/>
                  </a:lnTo>
                  <a:lnTo>
                    <a:pt x="1933251" y="3749994"/>
                  </a:lnTo>
                  <a:lnTo>
                    <a:pt x="2156771" y="3749994"/>
                  </a:lnTo>
                  <a:lnTo>
                    <a:pt x="2156771" y="3526474"/>
                  </a:lnTo>
                  <a:lnTo>
                    <a:pt x="2156771" y="3292794"/>
                  </a:lnTo>
                  <a:lnTo>
                    <a:pt x="2375211" y="3292794"/>
                  </a:lnTo>
                  <a:lnTo>
                    <a:pt x="2598731" y="3292794"/>
                  </a:lnTo>
                  <a:lnTo>
                    <a:pt x="2598731" y="3069274"/>
                  </a:lnTo>
                  <a:lnTo>
                    <a:pt x="2598731" y="2378394"/>
                  </a:lnTo>
                  <a:lnTo>
                    <a:pt x="3175311" y="2378394"/>
                  </a:lnTo>
                  <a:lnTo>
                    <a:pt x="3175311" y="2156077"/>
                  </a:lnTo>
                  <a:lnTo>
                    <a:pt x="3539294" y="2156077"/>
                  </a:lnTo>
                  <a:close/>
                  <a:moveTo>
                    <a:pt x="1933251" y="1778749"/>
                  </a:moveTo>
                  <a:lnTo>
                    <a:pt x="1933251" y="2154874"/>
                  </a:lnTo>
                  <a:lnTo>
                    <a:pt x="1614806" y="2154874"/>
                  </a:lnTo>
                  <a:close/>
                  <a:moveTo>
                    <a:pt x="2156771" y="1776416"/>
                  </a:moveTo>
                  <a:lnTo>
                    <a:pt x="2375211" y="1776416"/>
                  </a:lnTo>
                  <a:lnTo>
                    <a:pt x="2375211" y="2154874"/>
                  </a:lnTo>
                  <a:lnTo>
                    <a:pt x="2156771" y="2154874"/>
                  </a:lnTo>
                  <a:close/>
                  <a:moveTo>
                    <a:pt x="719131" y="1776416"/>
                  </a:moveTo>
                  <a:lnTo>
                    <a:pt x="1642355" y="1776416"/>
                  </a:lnTo>
                  <a:lnTo>
                    <a:pt x="1321935" y="2154874"/>
                  </a:lnTo>
                  <a:lnTo>
                    <a:pt x="719131" y="2154874"/>
                  </a:lnTo>
                  <a:close/>
                  <a:moveTo>
                    <a:pt x="1587656" y="203080"/>
                  </a:moveTo>
                  <a:cubicBezTo>
                    <a:pt x="957130" y="203080"/>
                    <a:pt x="445989" y="368879"/>
                    <a:pt x="445989" y="573403"/>
                  </a:cubicBezTo>
                  <a:cubicBezTo>
                    <a:pt x="445989" y="777928"/>
                    <a:pt x="957130" y="943727"/>
                    <a:pt x="1587656" y="943727"/>
                  </a:cubicBezTo>
                  <a:cubicBezTo>
                    <a:pt x="2218182" y="943727"/>
                    <a:pt x="2729323" y="777928"/>
                    <a:pt x="2729323" y="573403"/>
                  </a:cubicBezTo>
                  <a:cubicBezTo>
                    <a:pt x="2729323" y="368879"/>
                    <a:pt x="2218182" y="203080"/>
                    <a:pt x="1587656" y="203080"/>
                  </a:cubicBezTo>
                  <a:close/>
                  <a:moveTo>
                    <a:pt x="1587656" y="0"/>
                  </a:moveTo>
                  <a:cubicBezTo>
                    <a:pt x="2464494" y="0"/>
                    <a:pt x="3175311" y="230568"/>
                    <a:pt x="3175311" y="514990"/>
                  </a:cubicBezTo>
                  <a:lnTo>
                    <a:pt x="3175311" y="2154874"/>
                  </a:lnTo>
                  <a:lnTo>
                    <a:pt x="2598731" y="2154874"/>
                  </a:lnTo>
                  <a:lnTo>
                    <a:pt x="2598731" y="1776416"/>
                  </a:lnTo>
                  <a:lnTo>
                    <a:pt x="2598731" y="1552896"/>
                  </a:lnTo>
                  <a:lnTo>
                    <a:pt x="2375211" y="1552896"/>
                  </a:lnTo>
                  <a:lnTo>
                    <a:pt x="2156771" y="1552896"/>
                  </a:lnTo>
                  <a:lnTo>
                    <a:pt x="2156771" y="1514742"/>
                  </a:lnTo>
                  <a:lnTo>
                    <a:pt x="2157289" y="1514130"/>
                  </a:lnTo>
                  <a:lnTo>
                    <a:pt x="2157289" y="1168211"/>
                  </a:lnTo>
                  <a:lnTo>
                    <a:pt x="2156323" y="1169352"/>
                  </a:lnTo>
                  <a:lnTo>
                    <a:pt x="2156321" y="1169352"/>
                  </a:lnTo>
                  <a:lnTo>
                    <a:pt x="1933251" y="1432826"/>
                  </a:lnTo>
                  <a:lnTo>
                    <a:pt x="1933251" y="1432829"/>
                  </a:lnTo>
                  <a:lnTo>
                    <a:pt x="1831597" y="1552896"/>
                  </a:lnTo>
                  <a:lnTo>
                    <a:pt x="719131" y="1552896"/>
                  </a:lnTo>
                  <a:lnTo>
                    <a:pt x="495611" y="1552896"/>
                  </a:lnTo>
                  <a:lnTo>
                    <a:pt x="495611" y="1776416"/>
                  </a:lnTo>
                  <a:lnTo>
                    <a:pt x="495611" y="2154874"/>
                  </a:lnTo>
                  <a:lnTo>
                    <a:pt x="495611" y="2378394"/>
                  </a:lnTo>
                  <a:lnTo>
                    <a:pt x="719131" y="2378394"/>
                  </a:lnTo>
                  <a:lnTo>
                    <a:pt x="1132693" y="2378394"/>
                  </a:lnTo>
                  <a:lnTo>
                    <a:pt x="934849" y="2612074"/>
                  </a:lnTo>
                  <a:lnTo>
                    <a:pt x="0" y="2612074"/>
                  </a:lnTo>
                  <a:lnTo>
                    <a:pt x="0" y="514990"/>
                  </a:lnTo>
                  <a:cubicBezTo>
                    <a:pt x="0" y="230568"/>
                    <a:pt x="710817" y="0"/>
                    <a:pt x="1587656"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30" name="Storage Name"/>
            <p:cNvSpPr txBox="1"/>
            <p:nvPr/>
          </p:nvSpPr>
          <p:spPr>
            <a:xfrm>
              <a:off x="391496" y="2344331"/>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TORAGE</a:t>
              </a:r>
              <a:endParaRPr lang="en-US" sz="650" dirty="0">
                <a:solidFill>
                  <a:srgbClr val="FFFFFF"/>
                </a:solidFill>
                <a:latin typeface="Segoe UI" panose="020B0502040204020203" pitchFamily="34" charset="0"/>
                <a:cs typeface="Segoe UI" panose="020B0502040204020203" pitchFamily="34" charset="0"/>
              </a:endParaRPr>
            </a:p>
          </p:txBody>
        </p:sp>
        <p:sp>
          <p:nvSpPr>
            <p:cNvPr id="31" name="Storage Icon"/>
            <p:cNvSpPr>
              <a:spLocks noChangeAspect="1"/>
            </p:cNvSpPr>
            <p:nvPr/>
          </p:nvSpPr>
          <p:spPr>
            <a:xfrm>
              <a:off x="93787" y="2387873"/>
              <a:ext cx="244527" cy="202927"/>
            </a:xfrm>
            <a:custGeom>
              <a:avLst/>
              <a:gdLst>
                <a:gd name="connsiteX0" fmla="*/ 2252121 w 3083700"/>
                <a:gd name="connsiteY0" fmla="*/ 2007454 h 2559086"/>
                <a:gd name="connsiteX1" fmla="*/ 2252121 w 3083700"/>
                <a:gd name="connsiteY1" fmla="*/ 2359879 h 2559086"/>
                <a:gd name="connsiteX2" fmla="*/ 2878866 w 3083700"/>
                <a:gd name="connsiteY2" fmla="*/ 2359879 h 2559086"/>
                <a:gd name="connsiteX3" fmla="*/ 2878866 w 3083700"/>
                <a:gd name="connsiteY3" fmla="*/ 2007454 h 2559086"/>
                <a:gd name="connsiteX4" fmla="*/ 1569692 w 3083700"/>
                <a:gd name="connsiteY4" fmla="*/ 2007454 h 2559086"/>
                <a:gd name="connsiteX5" fmla="*/ 1569692 w 3083700"/>
                <a:gd name="connsiteY5" fmla="*/ 2359879 h 2559086"/>
                <a:gd name="connsiteX6" fmla="*/ 2196437 w 3083700"/>
                <a:gd name="connsiteY6" fmla="*/ 2359879 h 2559086"/>
                <a:gd name="connsiteX7" fmla="*/ 2196437 w 3083700"/>
                <a:gd name="connsiteY7" fmla="*/ 2007454 h 2559086"/>
                <a:gd name="connsiteX8" fmla="*/ 887263 w 3083700"/>
                <a:gd name="connsiteY8" fmla="*/ 2007454 h 2559086"/>
                <a:gd name="connsiteX9" fmla="*/ 887263 w 3083700"/>
                <a:gd name="connsiteY9" fmla="*/ 2359879 h 2559086"/>
                <a:gd name="connsiteX10" fmla="*/ 1514008 w 3083700"/>
                <a:gd name="connsiteY10" fmla="*/ 2359879 h 2559086"/>
                <a:gd name="connsiteX11" fmla="*/ 1514008 w 3083700"/>
                <a:gd name="connsiteY11" fmla="*/ 2007454 h 2559086"/>
                <a:gd name="connsiteX12" fmla="*/ 204834 w 3083700"/>
                <a:gd name="connsiteY12" fmla="*/ 2007454 h 2559086"/>
                <a:gd name="connsiteX13" fmla="*/ 204834 w 3083700"/>
                <a:gd name="connsiteY13" fmla="*/ 2359879 h 2559086"/>
                <a:gd name="connsiteX14" fmla="*/ 831579 w 3083700"/>
                <a:gd name="connsiteY14" fmla="*/ 2359879 h 2559086"/>
                <a:gd name="connsiteX15" fmla="*/ 831579 w 3083700"/>
                <a:gd name="connsiteY15" fmla="*/ 2007454 h 2559086"/>
                <a:gd name="connsiteX16" fmla="*/ 2252121 w 3083700"/>
                <a:gd name="connsiteY16" fmla="*/ 1570202 h 2559086"/>
                <a:gd name="connsiteX17" fmla="*/ 2252121 w 3083700"/>
                <a:gd name="connsiteY17" fmla="*/ 1922627 h 2559086"/>
                <a:gd name="connsiteX18" fmla="*/ 2878866 w 3083700"/>
                <a:gd name="connsiteY18" fmla="*/ 1922627 h 2559086"/>
                <a:gd name="connsiteX19" fmla="*/ 2878866 w 3083700"/>
                <a:gd name="connsiteY19" fmla="*/ 1570202 h 2559086"/>
                <a:gd name="connsiteX20" fmla="*/ 1569692 w 3083700"/>
                <a:gd name="connsiteY20" fmla="*/ 1570202 h 2559086"/>
                <a:gd name="connsiteX21" fmla="*/ 1569692 w 3083700"/>
                <a:gd name="connsiteY21" fmla="*/ 1922627 h 2559086"/>
                <a:gd name="connsiteX22" fmla="*/ 2196437 w 3083700"/>
                <a:gd name="connsiteY22" fmla="*/ 1922627 h 2559086"/>
                <a:gd name="connsiteX23" fmla="*/ 2196437 w 3083700"/>
                <a:gd name="connsiteY23" fmla="*/ 1570202 h 2559086"/>
                <a:gd name="connsiteX24" fmla="*/ 887263 w 3083700"/>
                <a:gd name="connsiteY24" fmla="*/ 1570202 h 2559086"/>
                <a:gd name="connsiteX25" fmla="*/ 887263 w 3083700"/>
                <a:gd name="connsiteY25" fmla="*/ 1922627 h 2559086"/>
                <a:gd name="connsiteX26" fmla="*/ 1514008 w 3083700"/>
                <a:gd name="connsiteY26" fmla="*/ 1922627 h 2559086"/>
                <a:gd name="connsiteX27" fmla="*/ 1514008 w 3083700"/>
                <a:gd name="connsiteY27" fmla="*/ 1570202 h 2559086"/>
                <a:gd name="connsiteX28" fmla="*/ 204834 w 3083700"/>
                <a:gd name="connsiteY28" fmla="*/ 1570202 h 2559086"/>
                <a:gd name="connsiteX29" fmla="*/ 204834 w 3083700"/>
                <a:gd name="connsiteY29" fmla="*/ 1922627 h 2559086"/>
                <a:gd name="connsiteX30" fmla="*/ 831579 w 3083700"/>
                <a:gd name="connsiteY30" fmla="*/ 1922627 h 2559086"/>
                <a:gd name="connsiteX31" fmla="*/ 831579 w 3083700"/>
                <a:gd name="connsiteY31" fmla="*/ 1570202 h 2559086"/>
                <a:gd name="connsiteX32" fmla="*/ 2252121 w 3083700"/>
                <a:gd name="connsiteY32" fmla="*/ 1132950 h 2559086"/>
                <a:gd name="connsiteX33" fmla="*/ 2252121 w 3083700"/>
                <a:gd name="connsiteY33" fmla="*/ 1485375 h 2559086"/>
                <a:gd name="connsiteX34" fmla="*/ 2878866 w 3083700"/>
                <a:gd name="connsiteY34" fmla="*/ 1485375 h 2559086"/>
                <a:gd name="connsiteX35" fmla="*/ 2878866 w 3083700"/>
                <a:gd name="connsiteY35" fmla="*/ 1132950 h 2559086"/>
                <a:gd name="connsiteX36" fmla="*/ 1569692 w 3083700"/>
                <a:gd name="connsiteY36" fmla="*/ 1132950 h 2559086"/>
                <a:gd name="connsiteX37" fmla="*/ 1569692 w 3083700"/>
                <a:gd name="connsiteY37" fmla="*/ 1485375 h 2559086"/>
                <a:gd name="connsiteX38" fmla="*/ 2196437 w 3083700"/>
                <a:gd name="connsiteY38" fmla="*/ 1485375 h 2559086"/>
                <a:gd name="connsiteX39" fmla="*/ 2196437 w 3083700"/>
                <a:gd name="connsiteY39" fmla="*/ 1132950 h 2559086"/>
                <a:gd name="connsiteX40" fmla="*/ 887263 w 3083700"/>
                <a:gd name="connsiteY40" fmla="*/ 1132950 h 2559086"/>
                <a:gd name="connsiteX41" fmla="*/ 887263 w 3083700"/>
                <a:gd name="connsiteY41" fmla="*/ 1485375 h 2559086"/>
                <a:gd name="connsiteX42" fmla="*/ 1514008 w 3083700"/>
                <a:gd name="connsiteY42" fmla="*/ 1485375 h 2559086"/>
                <a:gd name="connsiteX43" fmla="*/ 1514008 w 3083700"/>
                <a:gd name="connsiteY43" fmla="*/ 1132950 h 2559086"/>
                <a:gd name="connsiteX44" fmla="*/ 204834 w 3083700"/>
                <a:gd name="connsiteY44" fmla="*/ 1132950 h 2559086"/>
                <a:gd name="connsiteX45" fmla="*/ 204834 w 3083700"/>
                <a:gd name="connsiteY45" fmla="*/ 1485375 h 2559086"/>
                <a:gd name="connsiteX46" fmla="*/ 831579 w 3083700"/>
                <a:gd name="connsiteY46" fmla="*/ 1485375 h 2559086"/>
                <a:gd name="connsiteX47" fmla="*/ 831579 w 3083700"/>
                <a:gd name="connsiteY47" fmla="*/ 1132950 h 2559086"/>
                <a:gd name="connsiteX48" fmla="*/ 2252121 w 3083700"/>
                <a:gd name="connsiteY48" fmla="*/ 695698 h 2559086"/>
                <a:gd name="connsiteX49" fmla="*/ 2252121 w 3083700"/>
                <a:gd name="connsiteY49" fmla="*/ 1048123 h 2559086"/>
                <a:gd name="connsiteX50" fmla="*/ 2878866 w 3083700"/>
                <a:gd name="connsiteY50" fmla="*/ 1048123 h 2559086"/>
                <a:gd name="connsiteX51" fmla="*/ 2878866 w 3083700"/>
                <a:gd name="connsiteY51" fmla="*/ 695698 h 2559086"/>
                <a:gd name="connsiteX52" fmla="*/ 1569692 w 3083700"/>
                <a:gd name="connsiteY52" fmla="*/ 695698 h 2559086"/>
                <a:gd name="connsiteX53" fmla="*/ 1569692 w 3083700"/>
                <a:gd name="connsiteY53" fmla="*/ 1048123 h 2559086"/>
                <a:gd name="connsiteX54" fmla="*/ 2196437 w 3083700"/>
                <a:gd name="connsiteY54" fmla="*/ 1048123 h 2559086"/>
                <a:gd name="connsiteX55" fmla="*/ 2196437 w 3083700"/>
                <a:gd name="connsiteY55" fmla="*/ 695698 h 2559086"/>
                <a:gd name="connsiteX56" fmla="*/ 887263 w 3083700"/>
                <a:gd name="connsiteY56" fmla="*/ 695698 h 2559086"/>
                <a:gd name="connsiteX57" fmla="*/ 887263 w 3083700"/>
                <a:gd name="connsiteY57" fmla="*/ 1048123 h 2559086"/>
                <a:gd name="connsiteX58" fmla="*/ 1514008 w 3083700"/>
                <a:gd name="connsiteY58" fmla="*/ 1048123 h 2559086"/>
                <a:gd name="connsiteX59" fmla="*/ 1514008 w 3083700"/>
                <a:gd name="connsiteY59" fmla="*/ 695698 h 2559086"/>
                <a:gd name="connsiteX60" fmla="*/ 204834 w 3083700"/>
                <a:gd name="connsiteY60" fmla="*/ 695698 h 2559086"/>
                <a:gd name="connsiteX61" fmla="*/ 204834 w 3083700"/>
                <a:gd name="connsiteY61" fmla="*/ 1048123 h 2559086"/>
                <a:gd name="connsiteX62" fmla="*/ 831579 w 3083700"/>
                <a:gd name="connsiteY62" fmla="*/ 1048123 h 2559086"/>
                <a:gd name="connsiteX63" fmla="*/ 831579 w 3083700"/>
                <a:gd name="connsiteY63" fmla="*/ 695698 h 2559086"/>
                <a:gd name="connsiteX64" fmla="*/ 130744 w 3083700"/>
                <a:gd name="connsiteY64" fmla="*/ 0 h 2559086"/>
                <a:gd name="connsiteX65" fmla="*/ 2952956 w 3083700"/>
                <a:gd name="connsiteY65" fmla="*/ 0 h 2559086"/>
                <a:gd name="connsiteX66" fmla="*/ 3083700 w 3083700"/>
                <a:gd name="connsiteY66" fmla="*/ 130744 h 2559086"/>
                <a:gd name="connsiteX67" fmla="*/ 3083700 w 3083700"/>
                <a:gd name="connsiteY67" fmla="*/ 2428342 h 2559086"/>
                <a:gd name="connsiteX68" fmla="*/ 2952956 w 3083700"/>
                <a:gd name="connsiteY68" fmla="*/ 2559086 h 2559086"/>
                <a:gd name="connsiteX69" fmla="*/ 130744 w 3083700"/>
                <a:gd name="connsiteY69" fmla="*/ 2559086 h 2559086"/>
                <a:gd name="connsiteX70" fmla="*/ 0 w 3083700"/>
                <a:gd name="connsiteY70" fmla="*/ 2428342 h 2559086"/>
                <a:gd name="connsiteX71" fmla="*/ 0 w 3083700"/>
                <a:gd name="connsiteY71" fmla="*/ 130744 h 2559086"/>
                <a:gd name="connsiteX72" fmla="*/ 130744 w 3083700"/>
                <a:gd name="connsiteY72" fmla="*/ 0 h 25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3700" h="2559086">
                  <a:moveTo>
                    <a:pt x="2252121" y="2007454"/>
                  </a:moveTo>
                  <a:lnTo>
                    <a:pt x="2252121" y="2359879"/>
                  </a:lnTo>
                  <a:lnTo>
                    <a:pt x="2878866" y="2359879"/>
                  </a:lnTo>
                  <a:lnTo>
                    <a:pt x="2878866" y="2007454"/>
                  </a:lnTo>
                  <a:close/>
                  <a:moveTo>
                    <a:pt x="1569692" y="2007454"/>
                  </a:moveTo>
                  <a:lnTo>
                    <a:pt x="1569692" y="2359879"/>
                  </a:lnTo>
                  <a:lnTo>
                    <a:pt x="2196437" y="2359879"/>
                  </a:lnTo>
                  <a:lnTo>
                    <a:pt x="2196437" y="2007454"/>
                  </a:lnTo>
                  <a:close/>
                  <a:moveTo>
                    <a:pt x="887263" y="2007454"/>
                  </a:moveTo>
                  <a:lnTo>
                    <a:pt x="887263" y="2359879"/>
                  </a:lnTo>
                  <a:lnTo>
                    <a:pt x="1514008" y="2359879"/>
                  </a:lnTo>
                  <a:lnTo>
                    <a:pt x="1514008" y="2007454"/>
                  </a:lnTo>
                  <a:close/>
                  <a:moveTo>
                    <a:pt x="204834" y="2007454"/>
                  </a:moveTo>
                  <a:lnTo>
                    <a:pt x="204834" y="2359879"/>
                  </a:lnTo>
                  <a:lnTo>
                    <a:pt x="831579" y="2359879"/>
                  </a:lnTo>
                  <a:lnTo>
                    <a:pt x="831579" y="2007454"/>
                  </a:lnTo>
                  <a:close/>
                  <a:moveTo>
                    <a:pt x="2252121" y="1570202"/>
                  </a:moveTo>
                  <a:lnTo>
                    <a:pt x="2252121" y="1922627"/>
                  </a:lnTo>
                  <a:lnTo>
                    <a:pt x="2878866" y="1922627"/>
                  </a:lnTo>
                  <a:lnTo>
                    <a:pt x="2878866" y="1570202"/>
                  </a:lnTo>
                  <a:close/>
                  <a:moveTo>
                    <a:pt x="1569692" y="1570202"/>
                  </a:moveTo>
                  <a:lnTo>
                    <a:pt x="1569692" y="1922627"/>
                  </a:lnTo>
                  <a:lnTo>
                    <a:pt x="2196437" y="1922627"/>
                  </a:lnTo>
                  <a:lnTo>
                    <a:pt x="2196437" y="1570202"/>
                  </a:lnTo>
                  <a:close/>
                  <a:moveTo>
                    <a:pt x="887263" y="1570202"/>
                  </a:moveTo>
                  <a:lnTo>
                    <a:pt x="887263" y="1922627"/>
                  </a:lnTo>
                  <a:lnTo>
                    <a:pt x="1514008" y="1922627"/>
                  </a:lnTo>
                  <a:lnTo>
                    <a:pt x="1514008" y="1570202"/>
                  </a:lnTo>
                  <a:close/>
                  <a:moveTo>
                    <a:pt x="204834" y="1570202"/>
                  </a:moveTo>
                  <a:lnTo>
                    <a:pt x="204834" y="1922627"/>
                  </a:lnTo>
                  <a:lnTo>
                    <a:pt x="831579" y="1922627"/>
                  </a:lnTo>
                  <a:lnTo>
                    <a:pt x="831579" y="1570202"/>
                  </a:lnTo>
                  <a:close/>
                  <a:moveTo>
                    <a:pt x="2252121" y="1132950"/>
                  </a:moveTo>
                  <a:lnTo>
                    <a:pt x="2252121" y="1485375"/>
                  </a:lnTo>
                  <a:lnTo>
                    <a:pt x="2878866" y="1485375"/>
                  </a:lnTo>
                  <a:lnTo>
                    <a:pt x="2878866" y="1132950"/>
                  </a:lnTo>
                  <a:close/>
                  <a:moveTo>
                    <a:pt x="1569692" y="1132950"/>
                  </a:moveTo>
                  <a:lnTo>
                    <a:pt x="1569692" y="1485375"/>
                  </a:lnTo>
                  <a:lnTo>
                    <a:pt x="2196437" y="1485375"/>
                  </a:lnTo>
                  <a:lnTo>
                    <a:pt x="2196437" y="1132950"/>
                  </a:lnTo>
                  <a:close/>
                  <a:moveTo>
                    <a:pt x="887263" y="1132950"/>
                  </a:moveTo>
                  <a:lnTo>
                    <a:pt x="887263" y="1485375"/>
                  </a:lnTo>
                  <a:lnTo>
                    <a:pt x="1514008" y="1485375"/>
                  </a:lnTo>
                  <a:lnTo>
                    <a:pt x="1514008" y="1132950"/>
                  </a:lnTo>
                  <a:close/>
                  <a:moveTo>
                    <a:pt x="204834" y="1132950"/>
                  </a:moveTo>
                  <a:lnTo>
                    <a:pt x="204834" y="1485375"/>
                  </a:lnTo>
                  <a:lnTo>
                    <a:pt x="831579" y="1485375"/>
                  </a:lnTo>
                  <a:lnTo>
                    <a:pt x="831579" y="1132950"/>
                  </a:lnTo>
                  <a:close/>
                  <a:moveTo>
                    <a:pt x="2252121" y="695698"/>
                  </a:moveTo>
                  <a:lnTo>
                    <a:pt x="2252121" y="1048123"/>
                  </a:lnTo>
                  <a:lnTo>
                    <a:pt x="2878866" y="1048123"/>
                  </a:lnTo>
                  <a:lnTo>
                    <a:pt x="2878866" y="695698"/>
                  </a:lnTo>
                  <a:close/>
                  <a:moveTo>
                    <a:pt x="1569692" y="695698"/>
                  </a:moveTo>
                  <a:lnTo>
                    <a:pt x="1569692" y="1048123"/>
                  </a:lnTo>
                  <a:lnTo>
                    <a:pt x="2196437" y="1048123"/>
                  </a:lnTo>
                  <a:lnTo>
                    <a:pt x="2196437" y="695698"/>
                  </a:lnTo>
                  <a:close/>
                  <a:moveTo>
                    <a:pt x="887263" y="695698"/>
                  </a:moveTo>
                  <a:lnTo>
                    <a:pt x="887263" y="1048123"/>
                  </a:lnTo>
                  <a:lnTo>
                    <a:pt x="1514008" y="1048123"/>
                  </a:lnTo>
                  <a:lnTo>
                    <a:pt x="1514008" y="695698"/>
                  </a:lnTo>
                  <a:close/>
                  <a:moveTo>
                    <a:pt x="204834" y="695698"/>
                  </a:moveTo>
                  <a:lnTo>
                    <a:pt x="204834" y="1048123"/>
                  </a:lnTo>
                  <a:lnTo>
                    <a:pt x="831579" y="1048123"/>
                  </a:lnTo>
                  <a:lnTo>
                    <a:pt x="831579" y="695698"/>
                  </a:lnTo>
                  <a:close/>
                  <a:moveTo>
                    <a:pt x="130744" y="0"/>
                  </a:moveTo>
                  <a:lnTo>
                    <a:pt x="2952956" y="0"/>
                  </a:lnTo>
                  <a:cubicBezTo>
                    <a:pt x="3025164" y="0"/>
                    <a:pt x="3083700" y="58536"/>
                    <a:pt x="3083700" y="130744"/>
                  </a:cubicBezTo>
                  <a:lnTo>
                    <a:pt x="3083700" y="2428342"/>
                  </a:lnTo>
                  <a:cubicBezTo>
                    <a:pt x="3083700" y="2500550"/>
                    <a:pt x="3025164" y="2559086"/>
                    <a:pt x="2952956" y="2559086"/>
                  </a:cubicBezTo>
                  <a:lnTo>
                    <a:pt x="130744" y="2559086"/>
                  </a:lnTo>
                  <a:cubicBezTo>
                    <a:pt x="58536" y="2559086"/>
                    <a:pt x="0" y="2500550"/>
                    <a:pt x="0" y="2428342"/>
                  </a:cubicBezTo>
                  <a:lnTo>
                    <a:pt x="0" y="130744"/>
                  </a:lnTo>
                  <a:cubicBezTo>
                    <a:pt x="0" y="58536"/>
                    <a:pt x="58536" y="0"/>
                    <a:pt x="130744"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32" name="SQL Databases Name"/>
            <p:cNvSpPr txBox="1"/>
            <p:nvPr/>
          </p:nvSpPr>
          <p:spPr>
            <a:xfrm>
              <a:off x="391496" y="1984227"/>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QL DATABASES</a:t>
              </a:r>
              <a:endParaRPr lang="en-US" sz="650" dirty="0">
                <a:solidFill>
                  <a:srgbClr val="FFFFFF"/>
                </a:solidFill>
                <a:latin typeface="Segoe UI" panose="020B0502040204020203" pitchFamily="34" charset="0"/>
                <a:cs typeface="Segoe UI" panose="020B0502040204020203" pitchFamily="34" charset="0"/>
              </a:endParaRPr>
            </a:p>
          </p:txBody>
        </p:sp>
        <p:sp>
          <p:nvSpPr>
            <p:cNvPr id="33" name="SQL Database Icon"/>
            <p:cNvSpPr>
              <a:spLocks noChangeAspect="1"/>
            </p:cNvSpPr>
            <p:nvPr/>
          </p:nvSpPr>
          <p:spPr>
            <a:xfrm>
              <a:off x="124659" y="2004820"/>
              <a:ext cx="182782" cy="241624"/>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800" dirty="0">
                <a:solidFill>
                  <a:schemeClr val="tx2"/>
                </a:solidFill>
              </a:endParaRPr>
            </a:p>
          </p:txBody>
        </p:sp>
        <p:sp>
          <p:nvSpPr>
            <p:cNvPr id="34" name="Cloud Services Name"/>
            <p:cNvSpPr txBox="1"/>
            <p:nvPr/>
          </p:nvSpPr>
          <p:spPr>
            <a:xfrm>
              <a:off x="391494" y="1619383"/>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CLOUD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35" name="Cloud Services Icon"/>
            <p:cNvSpPr>
              <a:spLocks noChangeAspect="1"/>
            </p:cNvSpPr>
            <p:nvPr/>
          </p:nvSpPr>
          <p:spPr>
            <a:xfrm>
              <a:off x="77348" y="1652406"/>
              <a:ext cx="277404" cy="234430"/>
            </a:xfrm>
            <a:custGeom>
              <a:avLst/>
              <a:gdLst>
                <a:gd name="connsiteX0" fmla="*/ 1288941 w 3334427"/>
                <a:gd name="connsiteY0" fmla="*/ 1538005 h 2817885"/>
                <a:gd name="connsiteX1" fmla="*/ 1444454 w 3334427"/>
                <a:gd name="connsiteY1" fmla="*/ 1693518 h 2817885"/>
                <a:gd name="connsiteX2" fmla="*/ 1288941 w 3334427"/>
                <a:gd name="connsiteY2" fmla="*/ 1849031 h 2817885"/>
                <a:gd name="connsiteX3" fmla="*/ 1133428 w 3334427"/>
                <a:gd name="connsiteY3" fmla="*/ 1693518 h 2817885"/>
                <a:gd name="connsiteX4" fmla="*/ 1288941 w 3334427"/>
                <a:gd name="connsiteY4" fmla="*/ 1538005 h 2817885"/>
                <a:gd name="connsiteX5" fmla="*/ 1256190 w 3334427"/>
                <a:gd name="connsiteY5" fmla="*/ 1221811 h 2817885"/>
                <a:gd name="connsiteX6" fmla="*/ 1228064 w 3334427"/>
                <a:gd name="connsiteY6" fmla="*/ 1349135 h 2817885"/>
                <a:gd name="connsiteX7" fmla="*/ 1218299 w 3334427"/>
                <a:gd name="connsiteY7" fmla="*/ 1350119 h 2817885"/>
                <a:gd name="connsiteX8" fmla="*/ 1092962 w 3334427"/>
                <a:gd name="connsiteY8" fmla="*/ 1402861 h 2817885"/>
                <a:gd name="connsiteX9" fmla="*/ 1088718 w 3334427"/>
                <a:gd name="connsiteY9" fmla="*/ 1406363 h 2817885"/>
                <a:gd name="connsiteX10" fmla="*/ 979011 w 3334427"/>
                <a:gd name="connsiteY10" fmla="*/ 1336354 h 2817885"/>
                <a:gd name="connsiteX11" fmla="*/ 932235 w 3334427"/>
                <a:gd name="connsiteY11" fmla="*/ 1383131 h 2817885"/>
                <a:gd name="connsiteX12" fmla="*/ 1002209 w 3334427"/>
                <a:gd name="connsiteY12" fmla="*/ 1492783 h 2817885"/>
                <a:gd name="connsiteX13" fmla="*/ 998285 w 3334427"/>
                <a:gd name="connsiteY13" fmla="*/ 1497539 h 2817885"/>
                <a:gd name="connsiteX14" fmla="*/ 945543 w 3334427"/>
                <a:gd name="connsiteY14" fmla="*/ 1622876 h 2817885"/>
                <a:gd name="connsiteX15" fmla="*/ 944625 w 3334427"/>
                <a:gd name="connsiteY15" fmla="*/ 1631978 h 2817885"/>
                <a:gd name="connsiteX16" fmla="*/ 817235 w 3334427"/>
                <a:gd name="connsiteY16" fmla="*/ 1660118 h 2817885"/>
                <a:gd name="connsiteX17" fmla="*/ 817234 w 3334427"/>
                <a:gd name="connsiteY17" fmla="*/ 1726269 h 2817885"/>
                <a:gd name="connsiteX18" fmla="*/ 944558 w 3334427"/>
                <a:gd name="connsiteY18" fmla="*/ 1754394 h 2817885"/>
                <a:gd name="connsiteX19" fmla="*/ 945543 w 3334427"/>
                <a:gd name="connsiteY19" fmla="*/ 1764160 h 2817885"/>
                <a:gd name="connsiteX20" fmla="*/ 998285 w 3334427"/>
                <a:gd name="connsiteY20" fmla="*/ 1889497 h 2817885"/>
                <a:gd name="connsiteX21" fmla="*/ 1001786 w 3334427"/>
                <a:gd name="connsiteY21" fmla="*/ 1893741 h 2817885"/>
                <a:gd name="connsiteX22" fmla="*/ 931776 w 3334427"/>
                <a:gd name="connsiteY22" fmla="*/ 2003448 h 2817885"/>
                <a:gd name="connsiteX23" fmla="*/ 978553 w 3334427"/>
                <a:gd name="connsiteY23" fmla="*/ 2050224 h 2817885"/>
                <a:gd name="connsiteX24" fmla="*/ 1088206 w 3334427"/>
                <a:gd name="connsiteY24" fmla="*/ 1980250 h 2817885"/>
                <a:gd name="connsiteX25" fmla="*/ 1092962 w 3334427"/>
                <a:gd name="connsiteY25" fmla="*/ 1984175 h 2817885"/>
                <a:gd name="connsiteX26" fmla="*/ 1218299 w 3334427"/>
                <a:gd name="connsiteY26" fmla="*/ 2036917 h 2817885"/>
                <a:gd name="connsiteX27" fmla="*/ 1227403 w 3334427"/>
                <a:gd name="connsiteY27" fmla="*/ 2037834 h 2817885"/>
                <a:gd name="connsiteX28" fmla="*/ 1255542 w 3334427"/>
                <a:gd name="connsiteY28" fmla="*/ 2165224 h 2817885"/>
                <a:gd name="connsiteX29" fmla="*/ 1321693 w 3334427"/>
                <a:gd name="connsiteY29" fmla="*/ 2165224 h 2817885"/>
                <a:gd name="connsiteX30" fmla="*/ 1349819 w 3334427"/>
                <a:gd name="connsiteY30" fmla="*/ 2037901 h 2817885"/>
                <a:gd name="connsiteX31" fmla="*/ 1359583 w 3334427"/>
                <a:gd name="connsiteY31" fmla="*/ 2036917 h 2817885"/>
                <a:gd name="connsiteX32" fmla="*/ 1484920 w 3334427"/>
                <a:gd name="connsiteY32" fmla="*/ 1984175 h 2817885"/>
                <a:gd name="connsiteX33" fmla="*/ 1489163 w 3334427"/>
                <a:gd name="connsiteY33" fmla="*/ 1980674 h 2817885"/>
                <a:gd name="connsiteX34" fmla="*/ 1598871 w 3334427"/>
                <a:gd name="connsiteY34" fmla="*/ 2050683 h 2817885"/>
                <a:gd name="connsiteX35" fmla="*/ 1645646 w 3334427"/>
                <a:gd name="connsiteY35" fmla="*/ 2003907 h 2817885"/>
                <a:gd name="connsiteX36" fmla="*/ 1575673 w 3334427"/>
                <a:gd name="connsiteY36" fmla="*/ 1894254 h 2817885"/>
                <a:gd name="connsiteX37" fmla="*/ 1579598 w 3334427"/>
                <a:gd name="connsiteY37" fmla="*/ 1889497 h 2817885"/>
                <a:gd name="connsiteX38" fmla="*/ 1632340 w 3334427"/>
                <a:gd name="connsiteY38" fmla="*/ 1764160 h 2817885"/>
                <a:gd name="connsiteX39" fmla="*/ 1633258 w 3334427"/>
                <a:gd name="connsiteY39" fmla="*/ 1755058 h 2817885"/>
                <a:gd name="connsiteX40" fmla="*/ 1760648 w 3334427"/>
                <a:gd name="connsiteY40" fmla="*/ 1726917 h 2817885"/>
                <a:gd name="connsiteX41" fmla="*/ 1760649 w 3334427"/>
                <a:gd name="connsiteY41" fmla="*/ 1660766 h 2817885"/>
                <a:gd name="connsiteX42" fmla="*/ 1633324 w 3334427"/>
                <a:gd name="connsiteY42" fmla="*/ 1632641 h 2817885"/>
                <a:gd name="connsiteX43" fmla="*/ 1632340 w 3334427"/>
                <a:gd name="connsiteY43" fmla="*/ 1622876 h 2817885"/>
                <a:gd name="connsiteX44" fmla="*/ 1579598 w 3334427"/>
                <a:gd name="connsiteY44" fmla="*/ 1497539 h 2817885"/>
                <a:gd name="connsiteX45" fmla="*/ 1576097 w 3334427"/>
                <a:gd name="connsiteY45" fmla="*/ 1493295 h 2817885"/>
                <a:gd name="connsiteX46" fmla="*/ 1646105 w 3334427"/>
                <a:gd name="connsiteY46" fmla="*/ 1383589 h 2817885"/>
                <a:gd name="connsiteX47" fmla="*/ 1599329 w 3334427"/>
                <a:gd name="connsiteY47" fmla="*/ 1336813 h 2817885"/>
                <a:gd name="connsiteX48" fmla="*/ 1489677 w 3334427"/>
                <a:gd name="connsiteY48" fmla="*/ 1406786 h 2817885"/>
                <a:gd name="connsiteX49" fmla="*/ 1484920 w 3334427"/>
                <a:gd name="connsiteY49" fmla="*/ 1402861 h 2817885"/>
                <a:gd name="connsiteX50" fmla="*/ 1359583 w 3334427"/>
                <a:gd name="connsiteY50" fmla="*/ 1350119 h 2817885"/>
                <a:gd name="connsiteX51" fmla="*/ 1350481 w 3334427"/>
                <a:gd name="connsiteY51" fmla="*/ 1349202 h 2817885"/>
                <a:gd name="connsiteX52" fmla="*/ 1322342 w 3334427"/>
                <a:gd name="connsiteY52" fmla="*/ 1221811 h 2817885"/>
                <a:gd name="connsiteX53" fmla="*/ 2115711 w 3334427"/>
                <a:gd name="connsiteY53" fmla="*/ 1016035 h 2817885"/>
                <a:gd name="connsiteX54" fmla="*/ 2271224 w 3334427"/>
                <a:gd name="connsiteY54" fmla="*/ 1171548 h 2817885"/>
                <a:gd name="connsiteX55" fmla="*/ 2115711 w 3334427"/>
                <a:gd name="connsiteY55" fmla="*/ 1327061 h 2817885"/>
                <a:gd name="connsiteX56" fmla="*/ 1960198 w 3334427"/>
                <a:gd name="connsiteY56" fmla="*/ 1171548 h 2817885"/>
                <a:gd name="connsiteX57" fmla="*/ 2115711 w 3334427"/>
                <a:gd name="connsiteY57" fmla="*/ 1016035 h 2817885"/>
                <a:gd name="connsiteX58" fmla="*/ 2082960 w 3334427"/>
                <a:gd name="connsiteY58" fmla="*/ 699841 h 2817885"/>
                <a:gd name="connsiteX59" fmla="*/ 2054834 w 3334427"/>
                <a:gd name="connsiteY59" fmla="*/ 827165 h 2817885"/>
                <a:gd name="connsiteX60" fmla="*/ 2045069 w 3334427"/>
                <a:gd name="connsiteY60" fmla="*/ 828149 h 2817885"/>
                <a:gd name="connsiteX61" fmla="*/ 1919732 w 3334427"/>
                <a:gd name="connsiteY61" fmla="*/ 880891 h 2817885"/>
                <a:gd name="connsiteX62" fmla="*/ 1915488 w 3334427"/>
                <a:gd name="connsiteY62" fmla="*/ 884393 h 2817885"/>
                <a:gd name="connsiteX63" fmla="*/ 1805781 w 3334427"/>
                <a:gd name="connsiteY63" fmla="*/ 814384 h 2817885"/>
                <a:gd name="connsiteX64" fmla="*/ 1759005 w 3334427"/>
                <a:gd name="connsiteY64" fmla="*/ 861161 h 2817885"/>
                <a:gd name="connsiteX65" fmla="*/ 1828979 w 3334427"/>
                <a:gd name="connsiteY65" fmla="*/ 970813 h 2817885"/>
                <a:gd name="connsiteX66" fmla="*/ 1825055 w 3334427"/>
                <a:gd name="connsiteY66" fmla="*/ 975569 h 2817885"/>
                <a:gd name="connsiteX67" fmla="*/ 1772313 w 3334427"/>
                <a:gd name="connsiteY67" fmla="*/ 1100906 h 2817885"/>
                <a:gd name="connsiteX68" fmla="*/ 1771395 w 3334427"/>
                <a:gd name="connsiteY68" fmla="*/ 1110008 h 2817885"/>
                <a:gd name="connsiteX69" fmla="*/ 1644005 w 3334427"/>
                <a:gd name="connsiteY69" fmla="*/ 1138148 h 2817885"/>
                <a:gd name="connsiteX70" fmla="*/ 1644004 w 3334427"/>
                <a:gd name="connsiteY70" fmla="*/ 1204299 h 2817885"/>
                <a:gd name="connsiteX71" fmla="*/ 1771328 w 3334427"/>
                <a:gd name="connsiteY71" fmla="*/ 1232424 h 2817885"/>
                <a:gd name="connsiteX72" fmla="*/ 1772313 w 3334427"/>
                <a:gd name="connsiteY72" fmla="*/ 1242190 h 2817885"/>
                <a:gd name="connsiteX73" fmla="*/ 1825055 w 3334427"/>
                <a:gd name="connsiteY73" fmla="*/ 1367527 h 2817885"/>
                <a:gd name="connsiteX74" fmla="*/ 1828556 w 3334427"/>
                <a:gd name="connsiteY74" fmla="*/ 1371771 h 2817885"/>
                <a:gd name="connsiteX75" fmla="*/ 1758546 w 3334427"/>
                <a:gd name="connsiteY75" fmla="*/ 1481478 h 2817885"/>
                <a:gd name="connsiteX76" fmla="*/ 1805323 w 3334427"/>
                <a:gd name="connsiteY76" fmla="*/ 1528254 h 2817885"/>
                <a:gd name="connsiteX77" fmla="*/ 1914976 w 3334427"/>
                <a:gd name="connsiteY77" fmla="*/ 1458280 h 2817885"/>
                <a:gd name="connsiteX78" fmla="*/ 1919732 w 3334427"/>
                <a:gd name="connsiteY78" fmla="*/ 1462205 h 2817885"/>
                <a:gd name="connsiteX79" fmla="*/ 2045069 w 3334427"/>
                <a:gd name="connsiteY79" fmla="*/ 1514947 h 2817885"/>
                <a:gd name="connsiteX80" fmla="*/ 2054173 w 3334427"/>
                <a:gd name="connsiteY80" fmla="*/ 1515864 h 2817885"/>
                <a:gd name="connsiteX81" fmla="*/ 2082312 w 3334427"/>
                <a:gd name="connsiteY81" fmla="*/ 1643254 h 2817885"/>
                <a:gd name="connsiteX82" fmla="*/ 2148463 w 3334427"/>
                <a:gd name="connsiteY82" fmla="*/ 1643254 h 2817885"/>
                <a:gd name="connsiteX83" fmla="*/ 2176589 w 3334427"/>
                <a:gd name="connsiteY83" fmla="*/ 1515931 h 2817885"/>
                <a:gd name="connsiteX84" fmla="*/ 2186353 w 3334427"/>
                <a:gd name="connsiteY84" fmla="*/ 1514947 h 2817885"/>
                <a:gd name="connsiteX85" fmla="*/ 2311690 w 3334427"/>
                <a:gd name="connsiteY85" fmla="*/ 1462205 h 2817885"/>
                <a:gd name="connsiteX86" fmla="*/ 2315933 w 3334427"/>
                <a:gd name="connsiteY86" fmla="*/ 1458704 h 2817885"/>
                <a:gd name="connsiteX87" fmla="*/ 2425641 w 3334427"/>
                <a:gd name="connsiteY87" fmla="*/ 1528713 h 2817885"/>
                <a:gd name="connsiteX88" fmla="*/ 2472416 w 3334427"/>
                <a:gd name="connsiteY88" fmla="*/ 1481937 h 2817885"/>
                <a:gd name="connsiteX89" fmla="*/ 2402443 w 3334427"/>
                <a:gd name="connsiteY89" fmla="*/ 1372284 h 2817885"/>
                <a:gd name="connsiteX90" fmla="*/ 2406368 w 3334427"/>
                <a:gd name="connsiteY90" fmla="*/ 1367527 h 2817885"/>
                <a:gd name="connsiteX91" fmla="*/ 2459110 w 3334427"/>
                <a:gd name="connsiteY91" fmla="*/ 1242190 h 2817885"/>
                <a:gd name="connsiteX92" fmla="*/ 2460028 w 3334427"/>
                <a:gd name="connsiteY92" fmla="*/ 1233088 h 2817885"/>
                <a:gd name="connsiteX93" fmla="*/ 2587418 w 3334427"/>
                <a:gd name="connsiteY93" fmla="*/ 1204947 h 2817885"/>
                <a:gd name="connsiteX94" fmla="*/ 2587419 w 3334427"/>
                <a:gd name="connsiteY94" fmla="*/ 1138796 h 2817885"/>
                <a:gd name="connsiteX95" fmla="*/ 2460094 w 3334427"/>
                <a:gd name="connsiteY95" fmla="*/ 1110671 h 2817885"/>
                <a:gd name="connsiteX96" fmla="*/ 2459110 w 3334427"/>
                <a:gd name="connsiteY96" fmla="*/ 1100906 h 2817885"/>
                <a:gd name="connsiteX97" fmla="*/ 2406368 w 3334427"/>
                <a:gd name="connsiteY97" fmla="*/ 975569 h 2817885"/>
                <a:gd name="connsiteX98" fmla="*/ 2402867 w 3334427"/>
                <a:gd name="connsiteY98" fmla="*/ 971325 h 2817885"/>
                <a:gd name="connsiteX99" fmla="*/ 2472875 w 3334427"/>
                <a:gd name="connsiteY99" fmla="*/ 861619 h 2817885"/>
                <a:gd name="connsiteX100" fmla="*/ 2426099 w 3334427"/>
                <a:gd name="connsiteY100" fmla="*/ 814843 h 2817885"/>
                <a:gd name="connsiteX101" fmla="*/ 2316447 w 3334427"/>
                <a:gd name="connsiteY101" fmla="*/ 884816 h 2817885"/>
                <a:gd name="connsiteX102" fmla="*/ 2311690 w 3334427"/>
                <a:gd name="connsiteY102" fmla="*/ 880891 h 2817885"/>
                <a:gd name="connsiteX103" fmla="*/ 2186353 w 3334427"/>
                <a:gd name="connsiteY103" fmla="*/ 828149 h 2817885"/>
                <a:gd name="connsiteX104" fmla="*/ 2177251 w 3334427"/>
                <a:gd name="connsiteY104" fmla="*/ 827232 h 2817885"/>
                <a:gd name="connsiteX105" fmla="*/ 2149112 w 3334427"/>
                <a:gd name="connsiteY105" fmla="*/ 699841 h 2817885"/>
                <a:gd name="connsiteX106" fmla="*/ 2115077 w 3334427"/>
                <a:gd name="connsiteY106" fmla="*/ 0 h 2817885"/>
                <a:gd name="connsiteX107" fmla="*/ 2908548 w 3334427"/>
                <a:gd name="connsiteY107" fmla="*/ 793471 h 2817885"/>
                <a:gd name="connsiteX108" fmla="*/ 2872875 w 3334427"/>
                <a:gd name="connsiteY108" fmla="*/ 1029425 h 2817885"/>
                <a:gd name="connsiteX109" fmla="*/ 2865385 w 3334427"/>
                <a:gd name="connsiteY109" fmla="*/ 1048435 h 2817885"/>
                <a:gd name="connsiteX110" fmla="*/ 2969193 w 3334427"/>
                <a:gd name="connsiteY110" fmla="*/ 1080658 h 2817885"/>
                <a:gd name="connsiteX111" fmla="*/ 3334427 w 3334427"/>
                <a:gd name="connsiteY111" fmla="*/ 1631669 h 2817885"/>
                <a:gd name="connsiteX112" fmla="*/ 2736422 w 3334427"/>
                <a:gd name="connsiteY112" fmla="*/ 2229674 h 2817885"/>
                <a:gd name="connsiteX113" fmla="*/ 2586971 w 3334427"/>
                <a:gd name="connsiteY113" fmla="*/ 2210847 h 2817885"/>
                <a:gd name="connsiteX114" fmla="*/ 2539957 w 3334427"/>
                <a:gd name="connsiteY114" fmla="*/ 2195594 h 2817885"/>
                <a:gd name="connsiteX115" fmla="*/ 2540132 w 3334427"/>
                <a:gd name="connsiteY115" fmla="*/ 2196159 h 2817885"/>
                <a:gd name="connsiteX116" fmla="*/ 2547732 w 3334427"/>
                <a:gd name="connsiteY116" fmla="*/ 2271548 h 2817885"/>
                <a:gd name="connsiteX117" fmla="*/ 2173657 w 3334427"/>
                <a:gd name="connsiteY117" fmla="*/ 2645623 h 2817885"/>
                <a:gd name="connsiteX118" fmla="*/ 1863468 w 3334427"/>
                <a:gd name="connsiteY118" fmla="*/ 2480697 h 2817885"/>
                <a:gd name="connsiteX119" fmla="*/ 1857542 w 3334427"/>
                <a:gd name="connsiteY119" fmla="*/ 2469779 h 2817885"/>
                <a:gd name="connsiteX120" fmla="*/ 1809360 w 3334427"/>
                <a:gd name="connsiteY120" fmla="*/ 2558549 h 2817885"/>
                <a:gd name="connsiteX121" fmla="*/ 1321606 w 3334427"/>
                <a:gd name="connsiteY121" fmla="*/ 2817885 h 2817885"/>
                <a:gd name="connsiteX122" fmla="*/ 733395 w 3334427"/>
                <a:gd name="connsiteY122" fmla="*/ 2229674 h 2817885"/>
                <a:gd name="connsiteX123" fmla="*/ 736863 w 3334427"/>
                <a:gd name="connsiteY123" fmla="*/ 2195267 h 2817885"/>
                <a:gd name="connsiteX124" fmla="*/ 718524 w 3334427"/>
                <a:gd name="connsiteY124" fmla="*/ 2200960 h 2817885"/>
                <a:gd name="connsiteX125" fmla="*/ 598005 w 3334427"/>
                <a:gd name="connsiteY125" fmla="*/ 2213109 h 2817885"/>
                <a:gd name="connsiteX126" fmla="*/ 0 w 3334427"/>
                <a:gd name="connsiteY126" fmla="*/ 1615104 h 2817885"/>
                <a:gd name="connsiteX127" fmla="*/ 477486 w 3334427"/>
                <a:gd name="connsiteY127" fmla="*/ 1029248 h 2817885"/>
                <a:gd name="connsiteX128" fmla="*/ 483507 w 3334427"/>
                <a:gd name="connsiteY128" fmla="*/ 1028642 h 2817885"/>
                <a:gd name="connsiteX129" fmla="*/ 451215 w 3334427"/>
                <a:gd name="connsiteY129" fmla="*/ 959422 h 2817885"/>
                <a:gd name="connsiteX130" fmla="*/ 420758 w 3334427"/>
                <a:gd name="connsiteY130" fmla="*/ 786843 h 2817885"/>
                <a:gd name="connsiteX131" fmla="*/ 922684 w 3334427"/>
                <a:gd name="connsiteY131" fmla="*/ 284917 h 2817885"/>
                <a:gd name="connsiteX132" fmla="*/ 1351945 w 3334427"/>
                <a:gd name="connsiteY132" fmla="*/ 526576 h 2817885"/>
                <a:gd name="connsiteX133" fmla="*/ 1363631 w 3334427"/>
                <a:gd name="connsiteY133" fmla="*/ 550110 h 2817885"/>
                <a:gd name="connsiteX134" fmla="*/ 1383961 w 3334427"/>
                <a:gd name="connsiteY134" fmla="*/ 484616 h 2817885"/>
                <a:gd name="connsiteX135" fmla="*/ 2115077 w 3334427"/>
                <a:gd name="connsiteY135" fmla="*/ 0 h 281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334427" h="2817885">
                  <a:moveTo>
                    <a:pt x="1288941" y="1538005"/>
                  </a:moveTo>
                  <a:cubicBezTo>
                    <a:pt x="1374828" y="1538005"/>
                    <a:pt x="1444454" y="1607631"/>
                    <a:pt x="1444454" y="1693518"/>
                  </a:cubicBezTo>
                  <a:cubicBezTo>
                    <a:pt x="1444454" y="1779405"/>
                    <a:pt x="1374828" y="1849031"/>
                    <a:pt x="1288941" y="1849031"/>
                  </a:cubicBezTo>
                  <a:cubicBezTo>
                    <a:pt x="1203054" y="1849031"/>
                    <a:pt x="1133428" y="1779405"/>
                    <a:pt x="1133428" y="1693518"/>
                  </a:cubicBezTo>
                  <a:cubicBezTo>
                    <a:pt x="1133428" y="1607631"/>
                    <a:pt x="1203054" y="1538005"/>
                    <a:pt x="1288941" y="1538005"/>
                  </a:cubicBezTo>
                  <a:close/>
                  <a:moveTo>
                    <a:pt x="1256190" y="1221811"/>
                  </a:moveTo>
                  <a:lnTo>
                    <a:pt x="1228064" y="1349135"/>
                  </a:lnTo>
                  <a:lnTo>
                    <a:pt x="1218299" y="1350119"/>
                  </a:lnTo>
                  <a:cubicBezTo>
                    <a:pt x="1172663" y="1359458"/>
                    <a:pt x="1130258" y="1377665"/>
                    <a:pt x="1092962" y="1402861"/>
                  </a:cubicBezTo>
                  <a:lnTo>
                    <a:pt x="1088718" y="1406363"/>
                  </a:lnTo>
                  <a:lnTo>
                    <a:pt x="979011" y="1336354"/>
                  </a:lnTo>
                  <a:lnTo>
                    <a:pt x="932235" y="1383131"/>
                  </a:lnTo>
                  <a:lnTo>
                    <a:pt x="1002209" y="1492783"/>
                  </a:lnTo>
                  <a:lnTo>
                    <a:pt x="998285" y="1497539"/>
                  </a:lnTo>
                  <a:cubicBezTo>
                    <a:pt x="973088" y="1534835"/>
                    <a:pt x="954881" y="1577240"/>
                    <a:pt x="945543" y="1622876"/>
                  </a:cubicBezTo>
                  <a:lnTo>
                    <a:pt x="944625" y="1631978"/>
                  </a:lnTo>
                  <a:lnTo>
                    <a:pt x="817235" y="1660118"/>
                  </a:lnTo>
                  <a:lnTo>
                    <a:pt x="817234" y="1726269"/>
                  </a:lnTo>
                  <a:lnTo>
                    <a:pt x="944558" y="1754394"/>
                  </a:lnTo>
                  <a:lnTo>
                    <a:pt x="945543" y="1764160"/>
                  </a:lnTo>
                  <a:cubicBezTo>
                    <a:pt x="954881" y="1809796"/>
                    <a:pt x="973088" y="1852202"/>
                    <a:pt x="998285" y="1889497"/>
                  </a:cubicBezTo>
                  <a:lnTo>
                    <a:pt x="1001786" y="1893741"/>
                  </a:lnTo>
                  <a:lnTo>
                    <a:pt x="931776" y="2003448"/>
                  </a:lnTo>
                  <a:lnTo>
                    <a:pt x="978553" y="2050224"/>
                  </a:lnTo>
                  <a:lnTo>
                    <a:pt x="1088206" y="1980250"/>
                  </a:lnTo>
                  <a:lnTo>
                    <a:pt x="1092962" y="1984175"/>
                  </a:lnTo>
                  <a:cubicBezTo>
                    <a:pt x="1130258" y="2009371"/>
                    <a:pt x="1172663" y="2027578"/>
                    <a:pt x="1218299" y="2036917"/>
                  </a:cubicBezTo>
                  <a:lnTo>
                    <a:pt x="1227403" y="2037834"/>
                  </a:lnTo>
                  <a:lnTo>
                    <a:pt x="1255542" y="2165224"/>
                  </a:lnTo>
                  <a:lnTo>
                    <a:pt x="1321693" y="2165224"/>
                  </a:lnTo>
                  <a:lnTo>
                    <a:pt x="1349819" y="2037901"/>
                  </a:lnTo>
                  <a:lnTo>
                    <a:pt x="1359583" y="2036917"/>
                  </a:lnTo>
                  <a:cubicBezTo>
                    <a:pt x="1405219" y="2027578"/>
                    <a:pt x="1447625" y="2009371"/>
                    <a:pt x="1484920" y="1984175"/>
                  </a:cubicBezTo>
                  <a:lnTo>
                    <a:pt x="1489163" y="1980674"/>
                  </a:lnTo>
                  <a:lnTo>
                    <a:pt x="1598871" y="2050683"/>
                  </a:lnTo>
                  <a:lnTo>
                    <a:pt x="1645646" y="2003907"/>
                  </a:lnTo>
                  <a:lnTo>
                    <a:pt x="1575673" y="1894254"/>
                  </a:lnTo>
                  <a:lnTo>
                    <a:pt x="1579598" y="1889497"/>
                  </a:lnTo>
                  <a:cubicBezTo>
                    <a:pt x="1604794" y="1852202"/>
                    <a:pt x="1623001" y="1809796"/>
                    <a:pt x="1632340" y="1764160"/>
                  </a:cubicBezTo>
                  <a:lnTo>
                    <a:pt x="1633258" y="1755058"/>
                  </a:lnTo>
                  <a:lnTo>
                    <a:pt x="1760648" y="1726917"/>
                  </a:lnTo>
                  <a:lnTo>
                    <a:pt x="1760649" y="1660766"/>
                  </a:lnTo>
                  <a:lnTo>
                    <a:pt x="1633324" y="1632641"/>
                  </a:lnTo>
                  <a:lnTo>
                    <a:pt x="1632340" y="1622876"/>
                  </a:lnTo>
                  <a:cubicBezTo>
                    <a:pt x="1623001" y="1577240"/>
                    <a:pt x="1604794" y="1534835"/>
                    <a:pt x="1579598" y="1497539"/>
                  </a:cubicBezTo>
                  <a:lnTo>
                    <a:pt x="1576097" y="1493295"/>
                  </a:lnTo>
                  <a:lnTo>
                    <a:pt x="1646105" y="1383589"/>
                  </a:lnTo>
                  <a:lnTo>
                    <a:pt x="1599329" y="1336813"/>
                  </a:lnTo>
                  <a:lnTo>
                    <a:pt x="1489677" y="1406786"/>
                  </a:lnTo>
                  <a:lnTo>
                    <a:pt x="1484920" y="1402861"/>
                  </a:lnTo>
                  <a:cubicBezTo>
                    <a:pt x="1447625" y="1377665"/>
                    <a:pt x="1405219" y="1359458"/>
                    <a:pt x="1359583" y="1350119"/>
                  </a:cubicBezTo>
                  <a:lnTo>
                    <a:pt x="1350481" y="1349202"/>
                  </a:lnTo>
                  <a:lnTo>
                    <a:pt x="1322342" y="1221811"/>
                  </a:lnTo>
                  <a:close/>
                  <a:moveTo>
                    <a:pt x="2115711" y="1016035"/>
                  </a:moveTo>
                  <a:cubicBezTo>
                    <a:pt x="2201598" y="1016035"/>
                    <a:pt x="2271224" y="1085661"/>
                    <a:pt x="2271224" y="1171548"/>
                  </a:cubicBezTo>
                  <a:cubicBezTo>
                    <a:pt x="2271224" y="1257435"/>
                    <a:pt x="2201598" y="1327061"/>
                    <a:pt x="2115711" y="1327061"/>
                  </a:cubicBezTo>
                  <a:cubicBezTo>
                    <a:pt x="2029824" y="1327061"/>
                    <a:pt x="1960198" y="1257435"/>
                    <a:pt x="1960198" y="1171548"/>
                  </a:cubicBezTo>
                  <a:cubicBezTo>
                    <a:pt x="1960198" y="1085661"/>
                    <a:pt x="2029824" y="1016035"/>
                    <a:pt x="2115711" y="1016035"/>
                  </a:cubicBezTo>
                  <a:close/>
                  <a:moveTo>
                    <a:pt x="2082960" y="699841"/>
                  </a:moveTo>
                  <a:lnTo>
                    <a:pt x="2054834" y="827165"/>
                  </a:lnTo>
                  <a:lnTo>
                    <a:pt x="2045069" y="828149"/>
                  </a:lnTo>
                  <a:cubicBezTo>
                    <a:pt x="1999433" y="837488"/>
                    <a:pt x="1957028" y="855695"/>
                    <a:pt x="1919732" y="880891"/>
                  </a:cubicBezTo>
                  <a:lnTo>
                    <a:pt x="1915488" y="884393"/>
                  </a:lnTo>
                  <a:lnTo>
                    <a:pt x="1805781" y="814384"/>
                  </a:lnTo>
                  <a:lnTo>
                    <a:pt x="1759005" y="861161"/>
                  </a:lnTo>
                  <a:lnTo>
                    <a:pt x="1828979" y="970813"/>
                  </a:lnTo>
                  <a:lnTo>
                    <a:pt x="1825055" y="975569"/>
                  </a:lnTo>
                  <a:cubicBezTo>
                    <a:pt x="1799858" y="1012865"/>
                    <a:pt x="1781651" y="1055270"/>
                    <a:pt x="1772313" y="1100906"/>
                  </a:cubicBezTo>
                  <a:lnTo>
                    <a:pt x="1771395" y="1110008"/>
                  </a:lnTo>
                  <a:lnTo>
                    <a:pt x="1644005" y="1138148"/>
                  </a:lnTo>
                  <a:lnTo>
                    <a:pt x="1644004" y="1204299"/>
                  </a:lnTo>
                  <a:lnTo>
                    <a:pt x="1771328" y="1232424"/>
                  </a:lnTo>
                  <a:lnTo>
                    <a:pt x="1772313" y="1242190"/>
                  </a:lnTo>
                  <a:cubicBezTo>
                    <a:pt x="1781651" y="1287826"/>
                    <a:pt x="1799858" y="1330232"/>
                    <a:pt x="1825055" y="1367527"/>
                  </a:cubicBezTo>
                  <a:lnTo>
                    <a:pt x="1828556" y="1371771"/>
                  </a:lnTo>
                  <a:lnTo>
                    <a:pt x="1758546" y="1481478"/>
                  </a:lnTo>
                  <a:lnTo>
                    <a:pt x="1805323" y="1528254"/>
                  </a:lnTo>
                  <a:lnTo>
                    <a:pt x="1914976" y="1458280"/>
                  </a:lnTo>
                  <a:lnTo>
                    <a:pt x="1919732" y="1462205"/>
                  </a:lnTo>
                  <a:cubicBezTo>
                    <a:pt x="1957028" y="1487401"/>
                    <a:pt x="1999433" y="1505608"/>
                    <a:pt x="2045069" y="1514947"/>
                  </a:cubicBezTo>
                  <a:lnTo>
                    <a:pt x="2054173" y="1515864"/>
                  </a:lnTo>
                  <a:lnTo>
                    <a:pt x="2082312" y="1643254"/>
                  </a:lnTo>
                  <a:lnTo>
                    <a:pt x="2148463" y="1643254"/>
                  </a:lnTo>
                  <a:lnTo>
                    <a:pt x="2176589" y="1515931"/>
                  </a:lnTo>
                  <a:lnTo>
                    <a:pt x="2186353" y="1514947"/>
                  </a:lnTo>
                  <a:cubicBezTo>
                    <a:pt x="2231989" y="1505608"/>
                    <a:pt x="2274395" y="1487401"/>
                    <a:pt x="2311690" y="1462205"/>
                  </a:cubicBezTo>
                  <a:lnTo>
                    <a:pt x="2315933" y="1458704"/>
                  </a:lnTo>
                  <a:lnTo>
                    <a:pt x="2425641" y="1528713"/>
                  </a:lnTo>
                  <a:lnTo>
                    <a:pt x="2472416" y="1481937"/>
                  </a:lnTo>
                  <a:lnTo>
                    <a:pt x="2402443" y="1372284"/>
                  </a:lnTo>
                  <a:lnTo>
                    <a:pt x="2406368" y="1367527"/>
                  </a:lnTo>
                  <a:cubicBezTo>
                    <a:pt x="2431564" y="1330232"/>
                    <a:pt x="2449771" y="1287826"/>
                    <a:pt x="2459110" y="1242190"/>
                  </a:cubicBezTo>
                  <a:lnTo>
                    <a:pt x="2460028" y="1233088"/>
                  </a:lnTo>
                  <a:lnTo>
                    <a:pt x="2587418" y="1204947"/>
                  </a:lnTo>
                  <a:lnTo>
                    <a:pt x="2587419" y="1138796"/>
                  </a:lnTo>
                  <a:lnTo>
                    <a:pt x="2460094" y="1110671"/>
                  </a:lnTo>
                  <a:lnTo>
                    <a:pt x="2459110" y="1100906"/>
                  </a:lnTo>
                  <a:cubicBezTo>
                    <a:pt x="2449771" y="1055270"/>
                    <a:pt x="2431564" y="1012865"/>
                    <a:pt x="2406368" y="975569"/>
                  </a:cubicBezTo>
                  <a:lnTo>
                    <a:pt x="2402867" y="971325"/>
                  </a:lnTo>
                  <a:lnTo>
                    <a:pt x="2472875" y="861619"/>
                  </a:lnTo>
                  <a:lnTo>
                    <a:pt x="2426099" y="814843"/>
                  </a:lnTo>
                  <a:lnTo>
                    <a:pt x="2316447" y="884816"/>
                  </a:lnTo>
                  <a:lnTo>
                    <a:pt x="2311690" y="880891"/>
                  </a:lnTo>
                  <a:cubicBezTo>
                    <a:pt x="2274395" y="855695"/>
                    <a:pt x="2231989" y="837488"/>
                    <a:pt x="2186353" y="828149"/>
                  </a:cubicBezTo>
                  <a:lnTo>
                    <a:pt x="2177251" y="827232"/>
                  </a:lnTo>
                  <a:lnTo>
                    <a:pt x="2149112" y="699841"/>
                  </a:lnTo>
                  <a:close/>
                  <a:moveTo>
                    <a:pt x="2115077" y="0"/>
                  </a:moveTo>
                  <a:cubicBezTo>
                    <a:pt x="2553299" y="0"/>
                    <a:pt x="2908548" y="355249"/>
                    <a:pt x="2908548" y="793471"/>
                  </a:cubicBezTo>
                  <a:cubicBezTo>
                    <a:pt x="2908548" y="875638"/>
                    <a:pt x="2896059" y="954887"/>
                    <a:pt x="2872875" y="1029425"/>
                  </a:cubicBezTo>
                  <a:lnTo>
                    <a:pt x="2865385" y="1048435"/>
                  </a:lnTo>
                  <a:lnTo>
                    <a:pt x="2969193" y="1080658"/>
                  </a:lnTo>
                  <a:cubicBezTo>
                    <a:pt x="3183826" y="1171440"/>
                    <a:pt x="3334427" y="1383967"/>
                    <a:pt x="3334427" y="1631669"/>
                  </a:cubicBezTo>
                  <a:cubicBezTo>
                    <a:pt x="3334427" y="1961938"/>
                    <a:pt x="3066691" y="2229674"/>
                    <a:pt x="2736422" y="2229674"/>
                  </a:cubicBezTo>
                  <a:cubicBezTo>
                    <a:pt x="2684818" y="2229674"/>
                    <a:pt x="2634740" y="2223138"/>
                    <a:pt x="2586971" y="2210847"/>
                  </a:cubicBezTo>
                  <a:lnTo>
                    <a:pt x="2539957" y="2195594"/>
                  </a:lnTo>
                  <a:lnTo>
                    <a:pt x="2540132" y="2196159"/>
                  </a:lnTo>
                  <a:cubicBezTo>
                    <a:pt x="2545115" y="2220510"/>
                    <a:pt x="2547732" y="2245724"/>
                    <a:pt x="2547732" y="2271548"/>
                  </a:cubicBezTo>
                  <a:cubicBezTo>
                    <a:pt x="2547732" y="2478144"/>
                    <a:pt x="2380253" y="2645623"/>
                    <a:pt x="2173657" y="2645623"/>
                  </a:cubicBezTo>
                  <a:cubicBezTo>
                    <a:pt x="2044535" y="2645623"/>
                    <a:pt x="1930692" y="2580202"/>
                    <a:pt x="1863468" y="2480697"/>
                  </a:cubicBezTo>
                  <a:lnTo>
                    <a:pt x="1857542" y="2469779"/>
                  </a:lnTo>
                  <a:lnTo>
                    <a:pt x="1809360" y="2558549"/>
                  </a:lnTo>
                  <a:cubicBezTo>
                    <a:pt x="1703654" y="2715014"/>
                    <a:pt x="1524644" y="2817885"/>
                    <a:pt x="1321606" y="2817885"/>
                  </a:cubicBezTo>
                  <a:cubicBezTo>
                    <a:pt x="996746" y="2817885"/>
                    <a:pt x="733395" y="2554534"/>
                    <a:pt x="733395" y="2229674"/>
                  </a:cubicBezTo>
                  <a:lnTo>
                    <a:pt x="736863" y="2195267"/>
                  </a:lnTo>
                  <a:lnTo>
                    <a:pt x="718524" y="2200960"/>
                  </a:lnTo>
                  <a:cubicBezTo>
                    <a:pt x="679595" y="2208926"/>
                    <a:pt x="639289" y="2213109"/>
                    <a:pt x="598005" y="2213109"/>
                  </a:cubicBezTo>
                  <a:cubicBezTo>
                    <a:pt x="267736" y="2213109"/>
                    <a:pt x="0" y="1945373"/>
                    <a:pt x="0" y="1615104"/>
                  </a:cubicBezTo>
                  <a:cubicBezTo>
                    <a:pt x="0" y="1326119"/>
                    <a:pt x="204985" y="1085010"/>
                    <a:pt x="477486" y="1029248"/>
                  </a:cubicBezTo>
                  <a:lnTo>
                    <a:pt x="483507" y="1028642"/>
                  </a:lnTo>
                  <a:lnTo>
                    <a:pt x="451215" y="959422"/>
                  </a:lnTo>
                  <a:cubicBezTo>
                    <a:pt x="431511" y="905609"/>
                    <a:pt x="420758" y="847482"/>
                    <a:pt x="420758" y="786843"/>
                  </a:cubicBezTo>
                  <a:cubicBezTo>
                    <a:pt x="420758" y="509637"/>
                    <a:pt x="645478" y="284917"/>
                    <a:pt x="922684" y="284917"/>
                  </a:cubicBezTo>
                  <a:cubicBezTo>
                    <a:pt x="1104601" y="284917"/>
                    <a:pt x="1263913" y="381696"/>
                    <a:pt x="1351945" y="526576"/>
                  </a:cubicBezTo>
                  <a:lnTo>
                    <a:pt x="1363631" y="550110"/>
                  </a:lnTo>
                  <a:lnTo>
                    <a:pt x="1383961" y="484616"/>
                  </a:lnTo>
                  <a:cubicBezTo>
                    <a:pt x="1504417" y="199828"/>
                    <a:pt x="1786411" y="0"/>
                    <a:pt x="2115077"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36" name="Mobile Services Name"/>
            <p:cNvSpPr txBox="1"/>
            <p:nvPr/>
          </p:nvSpPr>
          <p:spPr>
            <a:xfrm>
              <a:off x="391496" y="1258710"/>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MOBILE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37" name="Mobile Services Icon"/>
            <p:cNvSpPr>
              <a:spLocks noChangeAspect="1"/>
            </p:cNvSpPr>
            <p:nvPr/>
          </p:nvSpPr>
          <p:spPr>
            <a:xfrm>
              <a:off x="124659" y="1276350"/>
              <a:ext cx="182782" cy="258072"/>
            </a:xfrm>
            <a:custGeom>
              <a:avLst/>
              <a:gdLst/>
              <a:ahLst/>
              <a:cxnLst/>
              <a:rect l="l" t="t" r="r" b="b"/>
              <a:pathLst>
                <a:path w="2575560" h="3794760">
                  <a:moveTo>
                    <a:pt x="1075399" y="3354705"/>
                  </a:moveTo>
                  <a:cubicBezTo>
                    <a:pt x="1012904" y="3354705"/>
                    <a:pt x="962241" y="3405368"/>
                    <a:pt x="962241" y="3467863"/>
                  </a:cubicBezTo>
                  <a:cubicBezTo>
                    <a:pt x="962241" y="3530358"/>
                    <a:pt x="1012904" y="3581021"/>
                    <a:pt x="1075399" y="3581021"/>
                  </a:cubicBezTo>
                  <a:lnTo>
                    <a:pt x="1500161" y="3581021"/>
                  </a:lnTo>
                  <a:cubicBezTo>
                    <a:pt x="1562656" y="3581021"/>
                    <a:pt x="1613319" y="3530358"/>
                    <a:pt x="1613319" y="3467863"/>
                  </a:cubicBezTo>
                  <a:cubicBezTo>
                    <a:pt x="1613319" y="3405368"/>
                    <a:pt x="1562656" y="3354705"/>
                    <a:pt x="1500161" y="3354705"/>
                  </a:cubicBezTo>
                  <a:close/>
                  <a:moveTo>
                    <a:pt x="1843022" y="1664517"/>
                  </a:moveTo>
                  <a:lnTo>
                    <a:pt x="1843022" y="2232936"/>
                  </a:lnTo>
                  <a:lnTo>
                    <a:pt x="1372553" y="2526918"/>
                  </a:lnTo>
                  <a:lnTo>
                    <a:pt x="1372553" y="1958498"/>
                  </a:lnTo>
                  <a:close/>
                  <a:moveTo>
                    <a:pt x="732539" y="1664517"/>
                  </a:moveTo>
                  <a:lnTo>
                    <a:pt x="1203008" y="1958498"/>
                  </a:lnTo>
                  <a:lnTo>
                    <a:pt x="1203008" y="2526918"/>
                  </a:lnTo>
                  <a:lnTo>
                    <a:pt x="732539" y="2232936"/>
                  </a:lnTo>
                  <a:close/>
                  <a:moveTo>
                    <a:pt x="1285777" y="1176401"/>
                  </a:moveTo>
                  <a:lnTo>
                    <a:pt x="1843022" y="1517481"/>
                  </a:lnTo>
                  <a:lnTo>
                    <a:pt x="1289783" y="1856111"/>
                  </a:lnTo>
                  <a:lnTo>
                    <a:pt x="732539" y="1515030"/>
                  </a:lnTo>
                  <a:close/>
                  <a:moveTo>
                    <a:pt x="211455" y="480060"/>
                  </a:moveTo>
                  <a:lnTo>
                    <a:pt x="211455" y="3211351"/>
                  </a:lnTo>
                  <a:lnTo>
                    <a:pt x="2364105" y="3211351"/>
                  </a:lnTo>
                  <a:lnTo>
                    <a:pt x="2364105" y="480060"/>
                  </a:lnTo>
                  <a:close/>
                  <a:moveTo>
                    <a:pt x="835534" y="167640"/>
                  </a:moveTo>
                  <a:cubicBezTo>
                    <a:pt x="802287" y="167640"/>
                    <a:pt x="775335" y="194592"/>
                    <a:pt x="775335" y="227839"/>
                  </a:cubicBezTo>
                  <a:cubicBezTo>
                    <a:pt x="775335" y="261086"/>
                    <a:pt x="802287" y="288038"/>
                    <a:pt x="835534" y="288038"/>
                  </a:cubicBezTo>
                  <a:lnTo>
                    <a:pt x="1740026" y="288038"/>
                  </a:lnTo>
                  <a:cubicBezTo>
                    <a:pt x="1773273" y="288038"/>
                    <a:pt x="1800225" y="261086"/>
                    <a:pt x="1800225" y="227839"/>
                  </a:cubicBezTo>
                  <a:cubicBezTo>
                    <a:pt x="1800225" y="194592"/>
                    <a:pt x="1773273" y="167640"/>
                    <a:pt x="1740026" y="167640"/>
                  </a:cubicBezTo>
                  <a:close/>
                  <a:moveTo>
                    <a:pt x="225052" y="0"/>
                  </a:moveTo>
                  <a:lnTo>
                    <a:pt x="2350508" y="0"/>
                  </a:lnTo>
                  <a:cubicBezTo>
                    <a:pt x="2474801" y="0"/>
                    <a:pt x="2575560" y="100759"/>
                    <a:pt x="2575560" y="225052"/>
                  </a:cubicBezTo>
                  <a:lnTo>
                    <a:pt x="2575560" y="3569708"/>
                  </a:lnTo>
                  <a:cubicBezTo>
                    <a:pt x="2575560" y="3694001"/>
                    <a:pt x="2474801" y="3794760"/>
                    <a:pt x="2350508" y="3794760"/>
                  </a:cubicBezTo>
                  <a:lnTo>
                    <a:pt x="225052" y="3794760"/>
                  </a:lnTo>
                  <a:cubicBezTo>
                    <a:pt x="100759" y="3794760"/>
                    <a:pt x="0" y="3694001"/>
                    <a:pt x="0" y="3569708"/>
                  </a:cubicBezTo>
                  <a:lnTo>
                    <a:pt x="0" y="225052"/>
                  </a:lnTo>
                  <a:cubicBezTo>
                    <a:pt x="0" y="100759"/>
                    <a:pt x="100759" y="0"/>
                    <a:pt x="225052"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38" name="Virtual Machines Name"/>
            <p:cNvSpPr txBox="1"/>
            <p:nvPr/>
          </p:nvSpPr>
          <p:spPr>
            <a:xfrm>
              <a:off x="391488" y="899980"/>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VIRTUAL MACHINES</a:t>
              </a:r>
              <a:endParaRPr lang="en-US" sz="650" dirty="0">
                <a:solidFill>
                  <a:srgbClr val="FFFFFF"/>
                </a:solidFill>
                <a:latin typeface="Segoe UI" panose="020B0502040204020203" pitchFamily="34" charset="0"/>
                <a:cs typeface="Segoe UI" panose="020B0502040204020203" pitchFamily="34" charset="0"/>
              </a:endParaRPr>
            </a:p>
          </p:txBody>
        </p:sp>
        <p:sp>
          <p:nvSpPr>
            <p:cNvPr id="39" name="Virtual Machine Icon"/>
            <p:cNvSpPr>
              <a:spLocks noChangeAspect="1"/>
            </p:cNvSpPr>
            <p:nvPr/>
          </p:nvSpPr>
          <p:spPr>
            <a:xfrm>
              <a:off x="101206" y="947004"/>
              <a:ext cx="229688" cy="213396"/>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3200"/>
            </a:p>
          </p:txBody>
        </p:sp>
        <p:sp>
          <p:nvSpPr>
            <p:cNvPr id="40" name="Web Sites Name"/>
            <p:cNvSpPr txBox="1"/>
            <p:nvPr/>
          </p:nvSpPr>
          <p:spPr>
            <a:xfrm>
              <a:off x="391496" y="539138"/>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WEB SITES</a:t>
              </a:r>
              <a:endParaRPr lang="en-US" sz="650" dirty="0">
                <a:solidFill>
                  <a:srgbClr val="FFFFFF"/>
                </a:solidFill>
                <a:latin typeface="Segoe UI" panose="020B0502040204020203" pitchFamily="34" charset="0"/>
                <a:cs typeface="Segoe UI" panose="020B0502040204020203" pitchFamily="34" charset="0"/>
              </a:endParaRPr>
            </a:p>
          </p:txBody>
        </p:sp>
        <p:sp>
          <p:nvSpPr>
            <p:cNvPr id="41" name="Web Sites Icon"/>
            <p:cNvSpPr>
              <a:spLocks noChangeAspect="1"/>
            </p:cNvSpPr>
            <p:nvPr/>
          </p:nvSpPr>
          <p:spPr>
            <a:xfrm>
              <a:off x="95431" y="565785"/>
              <a:ext cx="241238" cy="241238"/>
            </a:xfrm>
            <a:custGeom>
              <a:avLst/>
              <a:gdLst/>
              <a:ahLst/>
              <a:cxnLst/>
              <a:rect l="l" t="t" r="r" b="b"/>
              <a:pathLst>
                <a:path w="2610712" h="2610712">
                  <a:moveTo>
                    <a:pt x="900132" y="1659508"/>
                  </a:moveTo>
                  <a:cubicBezTo>
                    <a:pt x="850489" y="1680441"/>
                    <a:pt x="795925" y="1691910"/>
                    <a:pt x="738682" y="1691910"/>
                  </a:cubicBezTo>
                  <a:cubicBezTo>
                    <a:pt x="704580" y="1691910"/>
                    <a:pt x="671429" y="1687840"/>
                    <a:pt x="639972" y="1678984"/>
                  </a:cubicBezTo>
                  <a:cubicBezTo>
                    <a:pt x="630802" y="1732731"/>
                    <a:pt x="626539" y="1787737"/>
                    <a:pt x="626539" y="1843600"/>
                  </a:cubicBezTo>
                  <a:cubicBezTo>
                    <a:pt x="626539" y="1980151"/>
                    <a:pt x="652007" y="2111581"/>
                    <a:pt x="702051" y="2233347"/>
                  </a:cubicBezTo>
                  <a:cubicBezTo>
                    <a:pt x="875300" y="2347094"/>
                    <a:pt x="1082651" y="2412830"/>
                    <a:pt x="1305356" y="2412830"/>
                  </a:cubicBezTo>
                  <a:cubicBezTo>
                    <a:pt x="1649176" y="2412830"/>
                    <a:pt x="1956402" y="2256154"/>
                    <a:pt x="2159509" y="2010283"/>
                  </a:cubicBezTo>
                  <a:cubicBezTo>
                    <a:pt x="2111204" y="2014741"/>
                    <a:pt x="2062255" y="2016547"/>
                    <a:pt x="2012815" y="2016547"/>
                  </a:cubicBezTo>
                  <a:cubicBezTo>
                    <a:pt x="1920488" y="2016547"/>
                    <a:pt x="1829870" y="2010248"/>
                    <a:pt x="1741816" y="1995896"/>
                  </a:cubicBezTo>
                  <a:cubicBezTo>
                    <a:pt x="1697066" y="2053279"/>
                    <a:pt x="1627112" y="2089547"/>
                    <a:pt x="1548687" y="2089547"/>
                  </a:cubicBezTo>
                  <a:cubicBezTo>
                    <a:pt x="1425687" y="2089547"/>
                    <a:pt x="1323524" y="2000335"/>
                    <a:pt x="1304035" y="1882972"/>
                  </a:cubicBezTo>
                  <a:cubicBezTo>
                    <a:pt x="1156203" y="1826416"/>
                    <a:pt x="1020119" y="1751039"/>
                    <a:pt x="900132" y="1659508"/>
                  </a:cubicBezTo>
                  <a:close/>
                  <a:moveTo>
                    <a:pt x="326784" y="787357"/>
                  </a:moveTo>
                  <a:cubicBezTo>
                    <a:pt x="244341" y="941756"/>
                    <a:pt x="197882" y="1118130"/>
                    <a:pt x="197882" y="1305356"/>
                  </a:cubicBezTo>
                  <a:cubicBezTo>
                    <a:pt x="197882" y="1524075"/>
                    <a:pt x="261286" y="1727986"/>
                    <a:pt x="371590" y="1899154"/>
                  </a:cubicBezTo>
                  <a:cubicBezTo>
                    <a:pt x="367754" y="1880810"/>
                    <a:pt x="367351" y="1862246"/>
                    <a:pt x="367351" y="1843600"/>
                  </a:cubicBezTo>
                  <a:cubicBezTo>
                    <a:pt x="367351" y="1734956"/>
                    <a:pt x="381029" y="1629062"/>
                    <a:pt x="407760" y="1527398"/>
                  </a:cubicBezTo>
                  <a:cubicBezTo>
                    <a:pt x="351809" y="1457631"/>
                    <a:pt x="319328" y="1368887"/>
                    <a:pt x="319328" y="1272556"/>
                  </a:cubicBezTo>
                  <a:cubicBezTo>
                    <a:pt x="319328" y="1180502"/>
                    <a:pt x="348989" y="1095376"/>
                    <a:pt x="400195" y="1026883"/>
                  </a:cubicBezTo>
                  <a:cubicBezTo>
                    <a:pt x="367473" y="950052"/>
                    <a:pt x="342803" y="869972"/>
                    <a:pt x="326784" y="787357"/>
                  </a:cubicBezTo>
                  <a:close/>
                  <a:moveTo>
                    <a:pt x="1358809" y="759796"/>
                  </a:moveTo>
                  <a:cubicBezTo>
                    <a:pt x="1239078" y="818380"/>
                    <a:pt x="1130049" y="891267"/>
                    <a:pt x="1035634" y="976541"/>
                  </a:cubicBezTo>
                  <a:cubicBezTo>
                    <a:pt x="1111291" y="1052347"/>
                    <a:pt x="1158036" y="1156993"/>
                    <a:pt x="1158036" y="1272556"/>
                  </a:cubicBezTo>
                  <a:cubicBezTo>
                    <a:pt x="1158036" y="1358206"/>
                    <a:pt x="1132359" y="1437859"/>
                    <a:pt x="1088022" y="1504063"/>
                  </a:cubicBezTo>
                  <a:cubicBezTo>
                    <a:pt x="1174051" y="1568324"/>
                    <a:pt x="1270034" y="1622103"/>
                    <a:pt x="1373719" y="1663750"/>
                  </a:cubicBezTo>
                  <a:cubicBezTo>
                    <a:pt x="1418598" y="1619175"/>
                    <a:pt x="1480435" y="1591705"/>
                    <a:pt x="1548687" y="1591705"/>
                  </a:cubicBezTo>
                  <a:cubicBezTo>
                    <a:pt x="1664038" y="1591705"/>
                    <a:pt x="1761064" y="1670167"/>
                    <a:pt x="1788338" y="1776889"/>
                  </a:cubicBezTo>
                  <a:cubicBezTo>
                    <a:pt x="1861345" y="1788370"/>
                    <a:pt x="1936390" y="1793457"/>
                    <a:pt x="2012815" y="1793457"/>
                  </a:cubicBezTo>
                  <a:cubicBezTo>
                    <a:pt x="2115398" y="1793457"/>
                    <a:pt x="2215494" y="1784292"/>
                    <a:pt x="2311784" y="1765530"/>
                  </a:cubicBezTo>
                  <a:cubicBezTo>
                    <a:pt x="2333378" y="1721025"/>
                    <a:pt x="2351048" y="1674444"/>
                    <a:pt x="2365177" y="1626375"/>
                  </a:cubicBezTo>
                  <a:lnTo>
                    <a:pt x="2202628" y="1494320"/>
                  </a:lnTo>
                  <a:cubicBezTo>
                    <a:pt x="2146093" y="1541780"/>
                    <a:pt x="2073019" y="1569480"/>
                    <a:pt x="1993476" y="1569480"/>
                  </a:cubicBezTo>
                  <a:cubicBezTo>
                    <a:pt x="1808307" y="1569480"/>
                    <a:pt x="1658197" y="1419370"/>
                    <a:pt x="1658197" y="1234201"/>
                  </a:cubicBezTo>
                  <a:cubicBezTo>
                    <a:pt x="1658197" y="1173835"/>
                    <a:pt x="1674151" y="1117195"/>
                    <a:pt x="1703372" y="1069009"/>
                  </a:cubicBezTo>
                  <a:cubicBezTo>
                    <a:pt x="1579585" y="960620"/>
                    <a:pt x="1465000" y="856910"/>
                    <a:pt x="1358809" y="759796"/>
                  </a:cubicBezTo>
                  <a:close/>
                  <a:moveTo>
                    <a:pt x="2077117" y="595048"/>
                  </a:moveTo>
                  <a:cubicBezTo>
                    <a:pt x="1893185" y="595048"/>
                    <a:pt x="1717247" y="624514"/>
                    <a:pt x="1555753" y="679536"/>
                  </a:cubicBezTo>
                  <a:cubicBezTo>
                    <a:pt x="1646868" y="763770"/>
                    <a:pt x="1742881" y="850965"/>
                    <a:pt x="1840379" y="937533"/>
                  </a:cubicBezTo>
                  <a:cubicBezTo>
                    <a:pt x="1885750" y="912375"/>
                    <a:pt x="1938042" y="898922"/>
                    <a:pt x="1993476" y="898922"/>
                  </a:cubicBezTo>
                  <a:cubicBezTo>
                    <a:pt x="2178645" y="898922"/>
                    <a:pt x="2328755" y="1049032"/>
                    <a:pt x="2328755" y="1234201"/>
                  </a:cubicBezTo>
                  <a:cubicBezTo>
                    <a:pt x="2328755" y="1272990"/>
                    <a:pt x="2322168" y="1310240"/>
                    <a:pt x="2308704" y="1344423"/>
                  </a:cubicBezTo>
                  <a:lnTo>
                    <a:pt x="2406112" y="1425145"/>
                  </a:lnTo>
                  <a:cubicBezTo>
                    <a:pt x="2410658" y="1385818"/>
                    <a:pt x="2412830" y="1345841"/>
                    <a:pt x="2412830" y="1305356"/>
                  </a:cubicBezTo>
                  <a:cubicBezTo>
                    <a:pt x="2412830" y="1036563"/>
                    <a:pt x="2317071" y="790135"/>
                    <a:pt x="2157688" y="598425"/>
                  </a:cubicBezTo>
                  <a:cubicBezTo>
                    <a:pt x="2131065" y="595686"/>
                    <a:pt x="2104177" y="595048"/>
                    <a:pt x="2077117" y="595048"/>
                  </a:cubicBezTo>
                  <a:close/>
                  <a:moveTo>
                    <a:pt x="850619" y="296309"/>
                  </a:moveTo>
                  <a:cubicBezTo>
                    <a:pt x="745920" y="342505"/>
                    <a:pt x="650219" y="405265"/>
                    <a:pt x="566952" y="481629"/>
                  </a:cubicBezTo>
                  <a:cubicBezTo>
                    <a:pt x="562856" y="502474"/>
                    <a:pt x="562237" y="523628"/>
                    <a:pt x="562237" y="544906"/>
                  </a:cubicBezTo>
                  <a:cubicBezTo>
                    <a:pt x="562237" y="658977"/>
                    <a:pt x="580010" y="769475"/>
                    <a:pt x="614749" y="873958"/>
                  </a:cubicBezTo>
                  <a:cubicBezTo>
                    <a:pt x="653488" y="859785"/>
                    <a:pt x="695317" y="853202"/>
                    <a:pt x="738682" y="853202"/>
                  </a:cubicBezTo>
                  <a:lnTo>
                    <a:pt x="809682" y="860360"/>
                  </a:lnTo>
                  <a:cubicBezTo>
                    <a:pt x="915604" y="755988"/>
                    <a:pt x="1040099" y="666686"/>
                    <a:pt x="1177617" y="593776"/>
                  </a:cubicBezTo>
                  <a:cubicBezTo>
                    <a:pt x="1055870" y="481736"/>
                    <a:pt x="947131" y="381614"/>
                    <a:pt x="850619" y="296309"/>
                  </a:cubicBezTo>
                  <a:close/>
                  <a:moveTo>
                    <a:pt x="1305356" y="197882"/>
                  </a:moveTo>
                  <a:cubicBezTo>
                    <a:pt x="1228261" y="197882"/>
                    <a:pt x="1153005" y="205760"/>
                    <a:pt x="1080369" y="220843"/>
                  </a:cubicBezTo>
                  <a:cubicBezTo>
                    <a:pt x="1155718" y="299808"/>
                    <a:pt x="1255185" y="397466"/>
                    <a:pt x="1368946" y="505293"/>
                  </a:cubicBezTo>
                  <a:cubicBezTo>
                    <a:pt x="1536969" y="438118"/>
                    <a:pt x="1719963" y="394608"/>
                    <a:pt x="1912410" y="379643"/>
                  </a:cubicBezTo>
                  <a:cubicBezTo>
                    <a:pt x="1738338" y="264549"/>
                    <a:pt x="1529632" y="197882"/>
                    <a:pt x="1305356" y="197882"/>
                  </a:cubicBezTo>
                  <a:close/>
                  <a:moveTo>
                    <a:pt x="1305356" y="0"/>
                  </a:moveTo>
                  <a:cubicBezTo>
                    <a:pt x="2026284" y="0"/>
                    <a:pt x="2610712" y="584428"/>
                    <a:pt x="2610712" y="1305356"/>
                  </a:cubicBezTo>
                  <a:cubicBezTo>
                    <a:pt x="2610712" y="2026284"/>
                    <a:pt x="2026284" y="2610712"/>
                    <a:pt x="1305356" y="2610712"/>
                  </a:cubicBezTo>
                  <a:cubicBezTo>
                    <a:pt x="584428" y="2610712"/>
                    <a:pt x="0" y="2026284"/>
                    <a:pt x="0" y="1305356"/>
                  </a:cubicBezTo>
                  <a:cubicBezTo>
                    <a:pt x="0" y="584428"/>
                    <a:pt x="584428" y="0"/>
                    <a:pt x="1305356"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43" name="All Items Icon"/>
            <p:cNvSpPr>
              <a:spLocks noChangeAspect="1"/>
            </p:cNvSpPr>
            <p:nvPr/>
          </p:nvSpPr>
          <p:spPr>
            <a:xfrm>
              <a:off x="123226" y="220092"/>
              <a:ext cx="196213" cy="196915"/>
            </a:xfrm>
            <a:custGeom>
              <a:avLst/>
              <a:gdLst>
                <a:gd name="connsiteX0" fmla="*/ 1671124 w 2134875"/>
                <a:gd name="connsiteY0" fmla="*/ 1678764 h 2142515"/>
                <a:gd name="connsiteX1" fmla="*/ 2134875 w 2134875"/>
                <a:gd name="connsiteY1" fmla="*/ 1678764 h 2142515"/>
                <a:gd name="connsiteX2" fmla="*/ 2134875 w 2134875"/>
                <a:gd name="connsiteY2" fmla="*/ 2142515 h 2142515"/>
                <a:gd name="connsiteX3" fmla="*/ 1671124 w 2134875"/>
                <a:gd name="connsiteY3" fmla="*/ 2142515 h 2142515"/>
                <a:gd name="connsiteX4" fmla="*/ 1114082 w 2134875"/>
                <a:gd name="connsiteY4" fmla="*/ 1678764 h 2142515"/>
                <a:gd name="connsiteX5" fmla="*/ 1577833 w 2134875"/>
                <a:gd name="connsiteY5" fmla="*/ 1678764 h 2142515"/>
                <a:gd name="connsiteX6" fmla="*/ 1577833 w 2134875"/>
                <a:gd name="connsiteY6" fmla="*/ 2142515 h 2142515"/>
                <a:gd name="connsiteX7" fmla="*/ 1114082 w 2134875"/>
                <a:gd name="connsiteY7" fmla="*/ 2142515 h 2142515"/>
                <a:gd name="connsiteX8" fmla="*/ 557041 w 2134875"/>
                <a:gd name="connsiteY8" fmla="*/ 1678764 h 2142515"/>
                <a:gd name="connsiteX9" fmla="*/ 1020792 w 2134875"/>
                <a:gd name="connsiteY9" fmla="*/ 1678764 h 2142515"/>
                <a:gd name="connsiteX10" fmla="*/ 1020792 w 2134875"/>
                <a:gd name="connsiteY10" fmla="*/ 2142515 h 2142515"/>
                <a:gd name="connsiteX11" fmla="*/ 557041 w 2134875"/>
                <a:gd name="connsiteY11" fmla="*/ 2142515 h 2142515"/>
                <a:gd name="connsiteX12" fmla="*/ 0 w 2134875"/>
                <a:gd name="connsiteY12" fmla="*/ 1678764 h 2142515"/>
                <a:gd name="connsiteX13" fmla="*/ 463751 w 2134875"/>
                <a:gd name="connsiteY13" fmla="*/ 1678764 h 2142515"/>
                <a:gd name="connsiteX14" fmla="*/ 463751 w 2134875"/>
                <a:gd name="connsiteY14" fmla="*/ 2142515 h 2142515"/>
                <a:gd name="connsiteX15" fmla="*/ 0 w 2134875"/>
                <a:gd name="connsiteY15" fmla="*/ 2142515 h 2142515"/>
                <a:gd name="connsiteX16" fmla="*/ 1671124 w 2134875"/>
                <a:gd name="connsiteY16" fmla="*/ 1114456 h 2142515"/>
                <a:gd name="connsiteX17" fmla="*/ 2134875 w 2134875"/>
                <a:gd name="connsiteY17" fmla="*/ 1114456 h 2142515"/>
                <a:gd name="connsiteX18" fmla="*/ 2134875 w 2134875"/>
                <a:gd name="connsiteY18" fmla="*/ 1578207 h 2142515"/>
                <a:gd name="connsiteX19" fmla="*/ 1671124 w 2134875"/>
                <a:gd name="connsiteY19" fmla="*/ 1578207 h 2142515"/>
                <a:gd name="connsiteX20" fmla="*/ 1114082 w 2134875"/>
                <a:gd name="connsiteY20" fmla="*/ 1114456 h 2142515"/>
                <a:gd name="connsiteX21" fmla="*/ 1577833 w 2134875"/>
                <a:gd name="connsiteY21" fmla="*/ 1114456 h 2142515"/>
                <a:gd name="connsiteX22" fmla="*/ 1577833 w 2134875"/>
                <a:gd name="connsiteY22" fmla="*/ 1578207 h 2142515"/>
                <a:gd name="connsiteX23" fmla="*/ 1114082 w 2134875"/>
                <a:gd name="connsiteY23" fmla="*/ 1578207 h 2142515"/>
                <a:gd name="connsiteX24" fmla="*/ 557041 w 2134875"/>
                <a:gd name="connsiteY24" fmla="*/ 1114456 h 2142515"/>
                <a:gd name="connsiteX25" fmla="*/ 1020792 w 2134875"/>
                <a:gd name="connsiteY25" fmla="*/ 1114456 h 2142515"/>
                <a:gd name="connsiteX26" fmla="*/ 1020792 w 2134875"/>
                <a:gd name="connsiteY26" fmla="*/ 1578207 h 2142515"/>
                <a:gd name="connsiteX27" fmla="*/ 557041 w 2134875"/>
                <a:gd name="connsiteY27" fmla="*/ 1578207 h 2142515"/>
                <a:gd name="connsiteX28" fmla="*/ 0 w 2134875"/>
                <a:gd name="connsiteY28" fmla="*/ 1114456 h 2142515"/>
                <a:gd name="connsiteX29" fmla="*/ 463751 w 2134875"/>
                <a:gd name="connsiteY29" fmla="*/ 1114456 h 2142515"/>
                <a:gd name="connsiteX30" fmla="*/ 463751 w 2134875"/>
                <a:gd name="connsiteY30" fmla="*/ 1578207 h 2142515"/>
                <a:gd name="connsiteX31" fmla="*/ 0 w 2134875"/>
                <a:gd name="connsiteY31" fmla="*/ 1578207 h 2142515"/>
                <a:gd name="connsiteX32" fmla="*/ 1671124 w 2134875"/>
                <a:gd name="connsiteY32" fmla="*/ 556260 h 2142515"/>
                <a:gd name="connsiteX33" fmla="*/ 2134875 w 2134875"/>
                <a:gd name="connsiteY33" fmla="*/ 556260 h 2142515"/>
                <a:gd name="connsiteX34" fmla="*/ 2134875 w 2134875"/>
                <a:gd name="connsiteY34" fmla="*/ 1020011 h 2142515"/>
                <a:gd name="connsiteX35" fmla="*/ 1671124 w 2134875"/>
                <a:gd name="connsiteY35" fmla="*/ 1020011 h 2142515"/>
                <a:gd name="connsiteX36" fmla="*/ 1114082 w 2134875"/>
                <a:gd name="connsiteY36" fmla="*/ 556260 h 2142515"/>
                <a:gd name="connsiteX37" fmla="*/ 1577833 w 2134875"/>
                <a:gd name="connsiteY37" fmla="*/ 556260 h 2142515"/>
                <a:gd name="connsiteX38" fmla="*/ 1577833 w 2134875"/>
                <a:gd name="connsiteY38" fmla="*/ 1020011 h 2142515"/>
                <a:gd name="connsiteX39" fmla="*/ 1114082 w 2134875"/>
                <a:gd name="connsiteY39" fmla="*/ 1020011 h 2142515"/>
                <a:gd name="connsiteX40" fmla="*/ 557041 w 2134875"/>
                <a:gd name="connsiteY40" fmla="*/ 556260 h 2142515"/>
                <a:gd name="connsiteX41" fmla="*/ 1020792 w 2134875"/>
                <a:gd name="connsiteY41" fmla="*/ 556260 h 2142515"/>
                <a:gd name="connsiteX42" fmla="*/ 1020792 w 2134875"/>
                <a:gd name="connsiteY42" fmla="*/ 1020011 h 2142515"/>
                <a:gd name="connsiteX43" fmla="*/ 557041 w 2134875"/>
                <a:gd name="connsiteY43" fmla="*/ 1020011 h 2142515"/>
                <a:gd name="connsiteX44" fmla="*/ 0 w 2134875"/>
                <a:gd name="connsiteY44" fmla="*/ 556260 h 2142515"/>
                <a:gd name="connsiteX45" fmla="*/ 463751 w 2134875"/>
                <a:gd name="connsiteY45" fmla="*/ 556260 h 2142515"/>
                <a:gd name="connsiteX46" fmla="*/ 463751 w 2134875"/>
                <a:gd name="connsiteY46" fmla="*/ 1020011 h 2142515"/>
                <a:gd name="connsiteX47" fmla="*/ 0 w 2134875"/>
                <a:gd name="connsiteY47" fmla="*/ 1020011 h 2142515"/>
                <a:gd name="connsiteX48" fmla="*/ 1671124 w 2134875"/>
                <a:gd name="connsiteY48" fmla="*/ 0 h 2142515"/>
                <a:gd name="connsiteX49" fmla="*/ 2134875 w 2134875"/>
                <a:gd name="connsiteY49" fmla="*/ 0 h 2142515"/>
                <a:gd name="connsiteX50" fmla="*/ 2134875 w 2134875"/>
                <a:gd name="connsiteY50" fmla="*/ 463751 h 2142515"/>
                <a:gd name="connsiteX51" fmla="*/ 1671124 w 2134875"/>
                <a:gd name="connsiteY51" fmla="*/ 463751 h 2142515"/>
                <a:gd name="connsiteX52" fmla="*/ 1114082 w 2134875"/>
                <a:gd name="connsiteY52" fmla="*/ 0 h 2142515"/>
                <a:gd name="connsiteX53" fmla="*/ 1577833 w 2134875"/>
                <a:gd name="connsiteY53" fmla="*/ 0 h 2142515"/>
                <a:gd name="connsiteX54" fmla="*/ 1577833 w 2134875"/>
                <a:gd name="connsiteY54" fmla="*/ 463751 h 2142515"/>
                <a:gd name="connsiteX55" fmla="*/ 1114082 w 2134875"/>
                <a:gd name="connsiteY55" fmla="*/ 463751 h 2142515"/>
                <a:gd name="connsiteX56" fmla="*/ 557041 w 2134875"/>
                <a:gd name="connsiteY56" fmla="*/ 0 h 2142515"/>
                <a:gd name="connsiteX57" fmla="*/ 1020792 w 2134875"/>
                <a:gd name="connsiteY57" fmla="*/ 0 h 2142515"/>
                <a:gd name="connsiteX58" fmla="*/ 1020792 w 2134875"/>
                <a:gd name="connsiteY58" fmla="*/ 463751 h 2142515"/>
                <a:gd name="connsiteX59" fmla="*/ 557041 w 2134875"/>
                <a:gd name="connsiteY59" fmla="*/ 463751 h 2142515"/>
                <a:gd name="connsiteX60" fmla="*/ 0 w 2134875"/>
                <a:gd name="connsiteY60" fmla="*/ 0 h 2142515"/>
                <a:gd name="connsiteX61" fmla="*/ 463751 w 2134875"/>
                <a:gd name="connsiteY61" fmla="*/ 0 h 2142515"/>
                <a:gd name="connsiteX62" fmla="*/ 463751 w 2134875"/>
                <a:gd name="connsiteY62" fmla="*/ 463751 h 2142515"/>
                <a:gd name="connsiteX63" fmla="*/ 0 w 2134875"/>
                <a:gd name="connsiteY63" fmla="*/ 463751 h 2142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134875" h="2142515">
                  <a:moveTo>
                    <a:pt x="1671124" y="1678764"/>
                  </a:moveTo>
                  <a:lnTo>
                    <a:pt x="2134875" y="1678764"/>
                  </a:lnTo>
                  <a:lnTo>
                    <a:pt x="2134875" y="2142515"/>
                  </a:lnTo>
                  <a:lnTo>
                    <a:pt x="1671124" y="2142515"/>
                  </a:lnTo>
                  <a:close/>
                  <a:moveTo>
                    <a:pt x="1114082" y="1678764"/>
                  </a:moveTo>
                  <a:lnTo>
                    <a:pt x="1577833" y="1678764"/>
                  </a:lnTo>
                  <a:lnTo>
                    <a:pt x="1577833" y="2142515"/>
                  </a:lnTo>
                  <a:lnTo>
                    <a:pt x="1114082" y="2142515"/>
                  </a:lnTo>
                  <a:close/>
                  <a:moveTo>
                    <a:pt x="557041" y="1678764"/>
                  </a:moveTo>
                  <a:lnTo>
                    <a:pt x="1020792" y="1678764"/>
                  </a:lnTo>
                  <a:lnTo>
                    <a:pt x="1020792" y="2142515"/>
                  </a:lnTo>
                  <a:lnTo>
                    <a:pt x="557041" y="2142515"/>
                  </a:lnTo>
                  <a:close/>
                  <a:moveTo>
                    <a:pt x="0" y="1678764"/>
                  </a:moveTo>
                  <a:lnTo>
                    <a:pt x="463751" y="1678764"/>
                  </a:lnTo>
                  <a:lnTo>
                    <a:pt x="463751" y="2142515"/>
                  </a:lnTo>
                  <a:lnTo>
                    <a:pt x="0" y="2142515"/>
                  </a:lnTo>
                  <a:close/>
                  <a:moveTo>
                    <a:pt x="1671124" y="1114456"/>
                  </a:moveTo>
                  <a:lnTo>
                    <a:pt x="2134875" y="1114456"/>
                  </a:lnTo>
                  <a:lnTo>
                    <a:pt x="2134875" y="1578207"/>
                  </a:lnTo>
                  <a:lnTo>
                    <a:pt x="1671124" y="1578207"/>
                  </a:lnTo>
                  <a:close/>
                  <a:moveTo>
                    <a:pt x="1114082" y="1114456"/>
                  </a:moveTo>
                  <a:lnTo>
                    <a:pt x="1577833" y="1114456"/>
                  </a:lnTo>
                  <a:lnTo>
                    <a:pt x="1577833" y="1578207"/>
                  </a:lnTo>
                  <a:lnTo>
                    <a:pt x="1114082" y="1578207"/>
                  </a:lnTo>
                  <a:close/>
                  <a:moveTo>
                    <a:pt x="557041" y="1114456"/>
                  </a:moveTo>
                  <a:lnTo>
                    <a:pt x="1020792" y="1114456"/>
                  </a:lnTo>
                  <a:lnTo>
                    <a:pt x="1020792" y="1578207"/>
                  </a:lnTo>
                  <a:lnTo>
                    <a:pt x="557041" y="1578207"/>
                  </a:lnTo>
                  <a:close/>
                  <a:moveTo>
                    <a:pt x="0" y="1114456"/>
                  </a:moveTo>
                  <a:lnTo>
                    <a:pt x="463751" y="1114456"/>
                  </a:lnTo>
                  <a:lnTo>
                    <a:pt x="463751" y="1578207"/>
                  </a:lnTo>
                  <a:lnTo>
                    <a:pt x="0" y="1578207"/>
                  </a:lnTo>
                  <a:close/>
                  <a:moveTo>
                    <a:pt x="1671124" y="556260"/>
                  </a:moveTo>
                  <a:lnTo>
                    <a:pt x="2134875" y="556260"/>
                  </a:lnTo>
                  <a:lnTo>
                    <a:pt x="2134875" y="1020011"/>
                  </a:lnTo>
                  <a:lnTo>
                    <a:pt x="1671124" y="1020011"/>
                  </a:lnTo>
                  <a:close/>
                  <a:moveTo>
                    <a:pt x="1114082" y="556260"/>
                  </a:moveTo>
                  <a:lnTo>
                    <a:pt x="1577833" y="556260"/>
                  </a:lnTo>
                  <a:lnTo>
                    <a:pt x="1577833" y="1020011"/>
                  </a:lnTo>
                  <a:lnTo>
                    <a:pt x="1114082" y="1020011"/>
                  </a:lnTo>
                  <a:close/>
                  <a:moveTo>
                    <a:pt x="557041" y="556260"/>
                  </a:moveTo>
                  <a:lnTo>
                    <a:pt x="1020792" y="556260"/>
                  </a:lnTo>
                  <a:lnTo>
                    <a:pt x="1020792" y="1020011"/>
                  </a:lnTo>
                  <a:lnTo>
                    <a:pt x="557041" y="1020011"/>
                  </a:lnTo>
                  <a:close/>
                  <a:moveTo>
                    <a:pt x="0" y="556260"/>
                  </a:moveTo>
                  <a:lnTo>
                    <a:pt x="463751" y="556260"/>
                  </a:lnTo>
                  <a:lnTo>
                    <a:pt x="463751" y="1020011"/>
                  </a:lnTo>
                  <a:lnTo>
                    <a:pt x="0" y="1020011"/>
                  </a:lnTo>
                  <a:close/>
                  <a:moveTo>
                    <a:pt x="1671124" y="0"/>
                  </a:moveTo>
                  <a:lnTo>
                    <a:pt x="2134875" y="0"/>
                  </a:lnTo>
                  <a:lnTo>
                    <a:pt x="2134875" y="463751"/>
                  </a:lnTo>
                  <a:lnTo>
                    <a:pt x="1671124" y="463751"/>
                  </a:lnTo>
                  <a:close/>
                  <a:moveTo>
                    <a:pt x="1114082" y="0"/>
                  </a:moveTo>
                  <a:lnTo>
                    <a:pt x="1577833" y="0"/>
                  </a:lnTo>
                  <a:lnTo>
                    <a:pt x="1577833" y="463751"/>
                  </a:lnTo>
                  <a:lnTo>
                    <a:pt x="1114082" y="463751"/>
                  </a:lnTo>
                  <a:close/>
                  <a:moveTo>
                    <a:pt x="557041" y="0"/>
                  </a:moveTo>
                  <a:lnTo>
                    <a:pt x="1020792" y="0"/>
                  </a:lnTo>
                  <a:lnTo>
                    <a:pt x="1020792" y="463751"/>
                  </a:lnTo>
                  <a:lnTo>
                    <a:pt x="557041" y="463751"/>
                  </a:lnTo>
                  <a:close/>
                  <a:moveTo>
                    <a:pt x="0" y="0"/>
                  </a:moveTo>
                  <a:lnTo>
                    <a:pt x="463751" y="0"/>
                  </a:lnTo>
                  <a:lnTo>
                    <a:pt x="463751" y="463751"/>
                  </a:lnTo>
                  <a:lnTo>
                    <a:pt x="0" y="46375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44" name="All Items Text"/>
            <p:cNvSpPr txBox="1"/>
            <p:nvPr/>
          </p:nvSpPr>
          <p:spPr>
            <a:xfrm>
              <a:off x="391493" y="174660"/>
              <a:ext cx="1045629" cy="192360"/>
            </a:xfrm>
            <a:prstGeom prst="rect">
              <a:avLst/>
            </a:prstGeom>
            <a:noFill/>
          </p:spPr>
          <p:txBody>
            <a:bodyPr wrap="square" lIns="45720" rIns="45720" rtlCol="0">
              <a:spAutoFit/>
            </a:bodyPr>
            <a:lstStyle/>
            <a:p>
              <a:r>
                <a:rPr lang="en-US" sz="650" dirty="0" smtClean="0">
                  <a:solidFill>
                    <a:schemeClr val="bg1"/>
                  </a:solidFill>
                  <a:latin typeface="Segoe UI" panose="020B0502040204020203" pitchFamily="34" charset="0"/>
                  <a:cs typeface="Segoe UI" panose="020B0502040204020203" pitchFamily="34" charset="0"/>
                </a:rPr>
                <a:t>ALL ITEMS</a:t>
              </a:r>
              <a:endParaRPr lang="en-US" sz="650" dirty="0">
                <a:solidFill>
                  <a:schemeClr val="bg1"/>
                </a:solidFill>
                <a:latin typeface="Segoe UI" panose="020B0502040204020203" pitchFamily="34" charset="0"/>
                <a:cs typeface="Segoe UI" panose="020B0502040204020203" pitchFamily="34" charset="0"/>
              </a:endParaRPr>
            </a:p>
          </p:txBody>
        </p:sp>
      </p:grpSp>
      <p:sp>
        <p:nvSpPr>
          <p:cNvPr id="61" name="SaaS Rectangle"/>
          <p:cNvSpPr/>
          <p:nvPr/>
        </p:nvSpPr>
        <p:spPr>
          <a:xfrm>
            <a:off x="1444666" y="1"/>
            <a:ext cx="9286041" cy="6858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800" dirty="0" smtClean="0">
                <a:solidFill>
                  <a:schemeClr val="accent5">
                    <a:lumMod val="50000"/>
                  </a:schemeClr>
                </a:solidFill>
              </a:rPr>
              <a:t>Software as a Services (SaaS)</a:t>
            </a:r>
            <a:endParaRPr lang="en-US" sz="2800" dirty="0">
              <a:solidFill>
                <a:schemeClr val="accent5">
                  <a:lumMod val="50000"/>
                </a:schemeClr>
              </a:solidFill>
            </a:endParaRPr>
          </a:p>
        </p:txBody>
      </p:sp>
      <p:sp>
        <p:nvSpPr>
          <p:cNvPr id="60" name="PaaS Rectangle"/>
          <p:cNvSpPr/>
          <p:nvPr/>
        </p:nvSpPr>
        <p:spPr>
          <a:xfrm>
            <a:off x="1778912" y="1534422"/>
            <a:ext cx="8951795" cy="5323579"/>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800" dirty="0" smtClean="0">
                <a:solidFill>
                  <a:schemeClr val="accent5">
                    <a:lumMod val="20000"/>
                    <a:lumOff val="80000"/>
                  </a:schemeClr>
                </a:solidFill>
              </a:rPr>
              <a:t>Platform as a Services (</a:t>
            </a:r>
            <a:r>
              <a:rPr lang="en-US" sz="2800" dirty="0" err="1" smtClean="0">
                <a:solidFill>
                  <a:schemeClr val="accent5">
                    <a:lumMod val="20000"/>
                    <a:lumOff val="80000"/>
                  </a:schemeClr>
                </a:solidFill>
              </a:rPr>
              <a:t>PaaS</a:t>
            </a:r>
            <a:r>
              <a:rPr lang="en-US" sz="2800" dirty="0" smtClean="0">
                <a:solidFill>
                  <a:schemeClr val="accent5">
                    <a:lumMod val="20000"/>
                    <a:lumOff val="80000"/>
                  </a:schemeClr>
                </a:solidFill>
              </a:rPr>
              <a:t>)</a:t>
            </a:r>
            <a:endParaRPr lang="en-US" sz="2800" dirty="0">
              <a:solidFill>
                <a:schemeClr val="accent5">
                  <a:lumMod val="20000"/>
                  <a:lumOff val="80000"/>
                </a:schemeClr>
              </a:solidFill>
            </a:endParaRPr>
          </a:p>
        </p:txBody>
      </p:sp>
      <p:sp>
        <p:nvSpPr>
          <p:cNvPr id="59" name="IaaS Rectangle"/>
          <p:cNvSpPr/>
          <p:nvPr/>
        </p:nvSpPr>
        <p:spPr>
          <a:xfrm>
            <a:off x="2120900" y="3878813"/>
            <a:ext cx="8609808" cy="2985779"/>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800" dirty="0" smtClean="0">
                <a:solidFill>
                  <a:schemeClr val="accent5">
                    <a:lumMod val="20000"/>
                    <a:lumOff val="80000"/>
                  </a:schemeClr>
                </a:solidFill>
              </a:rPr>
              <a:t>Infrastructure as a Services (</a:t>
            </a:r>
            <a:r>
              <a:rPr lang="en-US" sz="2800" dirty="0" err="1" smtClean="0">
                <a:solidFill>
                  <a:schemeClr val="accent5">
                    <a:lumMod val="20000"/>
                    <a:lumOff val="80000"/>
                  </a:schemeClr>
                </a:solidFill>
              </a:rPr>
              <a:t>IaaS</a:t>
            </a:r>
            <a:r>
              <a:rPr lang="en-US" sz="2800" dirty="0" smtClean="0">
                <a:solidFill>
                  <a:schemeClr val="accent5">
                    <a:lumMod val="20000"/>
                    <a:lumOff val="80000"/>
                  </a:schemeClr>
                </a:solidFill>
              </a:rPr>
              <a:t>)</a:t>
            </a:r>
            <a:endParaRPr lang="en-US" sz="2800" dirty="0">
              <a:solidFill>
                <a:schemeClr val="accent5">
                  <a:lumMod val="20000"/>
                  <a:lumOff val="80000"/>
                </a:schemeClr>
              </a:solidFill>
            </a:endParaRPr>
          </a:p>
        </p:txBody>
      </p:sp>
      <p:grpSp>
        <p:nvGrpSpPr>
          <p:cNvPr id="62" name="SaaS Offerings"/>
          <p:cNvGrpSpPr/>
          <p:nvPr/>
        </p:nvGrpSpPr>
        <p:grpSpPr>
          <a:xfrm>
            <a:off x="4816917" y="591364"/>
            <a:ext cx="2562301" cy="813448"/>
            <a:chOff x="4816917" y="591364"/>
            <a:chExt cx="2562301" cy="813448"/>
          </a:xfrm>
        </p:grpSpPr>
        <p:sp>
          <p:nvSpPr>
            <p:cNvPr id="83" name="SQL Reporting Icon"/>
            <p:cNvSpPr>
              <a:spLocks noChangeAspect="1"/>
            </p:cNvSpPr>
            <p:nvPr/>
          </p:nvSpPr>
          <p:spPr>
            <a:xfrm>
              <a:off x="6742459" y="591364"/>
              <a:ext cx="636759" cy="800244"/>
            </a:xfrm>
            <a:custGeom>
              <a:avLst/>
              <a:gdLst>
                <a:gd name="connsiteX0" fmla="*/ 1350195 w 1848712"/>
                <a:gd name="connsiteY0" fmla="*/ 1954361 h 2323360"/>
                <a:gd name="connsiteX1" fmla="*/ 1569270 w 1848712"/>
                <a:gd name="connsiteY1" fmla="*/ 1954361 h 2323360"/>
                <a:gd name="connsiteX2" fmla="*/ 1569270 w 1848712"/>
                <a:gd name="connsiteY2" fmla="*/ 2028656 h 2323360"/>
                <a:gd name="connsiteX3" fmla="*/ 1350195 w 1848712"/>
                <a:gd name="connsiteY3" fmla="*/ 2028656 h 2323360"/>
                <a:gd name="connsiteX4" fmla="*/ 1061946 w 1848712"/>
                <a:gd name="connsiteY4" fmla="*/ 1954361 h 2323360"/>
                <a:gd name="connsiteX5" fmla="*/ 1281021 w 1848712"/>
                <a:gd name="connsiteY5" fmla="*/ 1954361 h 2323360"/>
                <a:gd name="connsiteX6" fmla="*/ 1281021 w 1848712"/>
                <a:gd name="connsiteY6" fmla="*/ 2028656 h 2323360"/>
                <a:gd name="connsiteX7" fmla="*/ 1061946 w 1848712"/>
                <a:gd name="connsiteY7" fmla="*/ 2028656 h 2323360"/>
                <a:gd name="connsiteX8" fmla="*/ 1350195 w 1848712"/>
                <a:gd name="connsiteY8" fmla="*/ 1817100 h 2323360"/>
                <a:gd name="connsiteX9" fmla="*/ 1569270 w 1848712"/>
                <a:gd name="connsiteY9" fmla="*/ 1817100 h 2323360"/>
                <a:gd name="connsiteX10" fmla="*/ 1569270 w 1848712"/>
                <a:gd name="connsiteY10" fmla="*/ 1891395 h 2323360"/>
                <a:gd name="connsiteX11" fmla="*/ 1350195 w 1848712"/>
                <a:gd name="connsiteY11" fmla="*/ 1891395 h 2323360"/>
                <a:gd name="connsiteX12" fmla="*/ 1061946 w 1848712"/>
                <a:gd name="connsiteY12" fmla="*/ 1817100 h 2323360"/>
                <a:gd name="connsiteX13" fmla="*/ 1281021 w 1848712"/>
                <a:gd name="connsiteY13" fmla="*/ 1817100 h 2323360"/>
                <a:gd name="connsiteX14" fmla="*/ 1281021 w 1848712"/>
                <a:gd name="connsiteY14" fmla="*/ 1891395 h 2323360"/>
                <a:gd name="connsiteX15" fmla="*/ 1061946 w 1848712"/>
                <a:gd name="connsiteY15" fmla="*/ 1891395 h 2323360"/>
                <a:gd name="connsiteX16" fmla="*/ 1350195 w 1848712"/>
                <a:gd name="connsiteY16" fmla="*/ 1679839 h 2323360"/>
                <a:gd name="connsiteX17" fmla="*/ 1569270 w 1848712"/>
                <a:gd name="connsiteY17" fmla="*/ 1679839 h 2323360"/>
                <a:gd name="connsiteX18" fmla="*/ 1569270 w 1848712"/>
                <a:gd name="connsiteY18" fmla="*/ 1754134 h 2323360"/>
                <a:gd name="connsiteX19" fmla="*/ 1350195 w 1848712"/>
                <a:gd name="connsiteY19" fmla="*/ 1754134 h 2323360"/>
                <a:gd name="connsiteX20" fmla="*/ 1061946 w 1848712"/>
                <a:gd name="connsiteY20" fmla="*/ 1679839 h 2323360"/>
                <a:gd name="connsiteX21" fmla="*/ 1281021 w 1848712"/>
                <a:gd name="connsiteY21" fmla="*/ 1679839 h 2323360"/>
                <a:gd name="connsiteX22" fmla="*/ 1281021 w 1848712"/>
                <a:gd name="connsiteY22" fmla="*/ 1754134 h 2323360"/>
                <a:gd name="connsiteX23" fmla="*/ 1061946 w 1848712"/>
                <a:gd name="connsiteY23" fmla="*/ 1754134 h 2323360"/>
                <a:gd name="connsiteX24" fmla="*/ 1350195 w 1848712"/>
                <a:gd name="connsiteY24" fmla="*/ 1539558 h 2323360"/>
                <a:gd name="connsiteX25" fmla="*/ 1569270 w 1848712"/>
                <a:gd name="connsiteY25" fmla="*/ 1539558 h 2323360"/>
                <a:gd name="connsiteX26" fmla="*/ 1569270 w 1848712"/>
                <a:gd name="connsiteY26" fmla="*/ 1613853 h 2323360"/>
                <a:gd name="connsiteX27" fmla="*/ 1350195 w 1848712"/>
                <a:gd name="connsiteY27" fmla="*/ 1613853 h 2323360"/>
                <a:gd name="connsiteX28" fmla="*/ 1061946 w 1848712"/>
                <a:gd name="connsiteY28" fmla="*/ 1539558 h 2323360"/>
                <a:gd name="connsiteX29" fmla="*/ 1281021 w 1848712"/>
                <a:gd name="connsiteY29" fmla="*/ 1539558 h 2323360"/>
                <a:gd name="connsiteX30" fmla="*/ 1281021 w 1848712"/>
                <a:gd name="connsiteY30" fmla="*/ 1613853 h 2323360"/>
                <a:gd name="connsiteX31" fmla="*/ 1061946 w 1848712"/>
                <a:gd name="connsiteY31" fmla="*/ 1613853 h 2323360"/>
                <a:gd name="connsiteX32" fmla="*/ 1061946 w 1848712"/>
                <a:gd name="connsiteY32" fmla="*/ 1399277 h 2323360"/>
                <a:gd name="connsiteX33" fmla="*/ 1281021 w 1848712"/>
                <a:gd name="connsiteY33" fmla="*/ 1399277 h 2323360"/>
                <a:gd name="connsiteX34" fmla="*/ 1281021 w 1848712"/>
                <a:gd name="connsiteY34" fmla="*/ 1473572 h 2323360"/>
                <a:gd name="connsiteX35" fmla="*/ 1061946 w 1848712"/>
                <a:gd name="connsiteY35" fmla="*/ 1473572 h 2323360"/>
                <a:gd name="connsiteX36" fmla="*/ 1061946 w 1848712"/>
                <a:gd name="connsiteY36" fmla="*/ 1258996 h 2323360"/>
                <a:gd name="connsiteX37" fmla="*/ 1281021 w 1848712"/>
                <a:gd name="connsiteY37" fmla="*/ 1258996 h 2323360"/>
                <a:gd name="connsiteX38" fmla="*/ 1281021 w 1848712"/>
                <a:gd name="connsiteY38" fmla="*/ 1333291 h 2323360"/>
                <a:gd name="connsiteX39" fmla="*/ 1061946 w 1848712"/>
                <a:gd name="connsiteY39" fmla="*/ 1333291 h 2323360"/>
                <a:gd name="connsiteX40" fmla="*/ 879780 w 1848712"/>
                <a:gd name="connsiteY40" fmla="*/ 1087839 h 2323360"/>
                <a:gd name="connsiteX41" fmla="*/ 879780 w 1848712"/>
                <a:gd name="connsiteY41" fmla="*/ 2196257 h 2323360"/>
                <a:gd name="connsiteX42" fmla="*/ 1782872 w 1848712"/>
                <a:gd name="connsiteY42" fmla="*/ 2196257 h 2323360"/>
                <a:gd name="connsiteX43" fmla="*/ 1782872 w 1848712"/>
                <a:gd name="connsiteY43" fmla="*/ 1457029 h 2323360"/>
                <a:gd name="connsiteX44" fmla="*/ 1739146 w 1848712"/>
                <a:gd name="connsiteY44" fmla="*/ 1413303 h 2323360"/>
                <a:gd name="connsiteX45" fmla="*/ 1419754 w 1848712"/>
                <a:gd name="connsiteY45" fmla="*/ 1413303 h 2323360"/>
                <a:gd name="connsiteX46" fmla="*/ 1419754 w 1848712"/>
                <a:gd name="connsiteY46" fmla="*/ 1093909 h 2323360"/>
                <a:gd name="connsiteX47" fmla="*/ 1413684 w 1848712"/>
                <a:gd name="connsiteY47" fmla="*/ 1087839 h 2323360"/>
                <a:gd name="connsiteX48" fmla="*/ 813941 w 1848712"/>
                <a:gd name="connsiteY48" fmla="*/ 1007033 h 2323360"/>
                <a:gd name="connsiteX49" fmla="*/ 1425693 w 1848712"/>
                <a:gd name="connsiteY49" fmla="*/ 1007033 h 2323360"/>
                <a:gd name="connsiteX50" fmla="*/ 1848712 w 1848712"/>
                <a:gd name="connsiteY50" fmla="*/ 1430053 h 2323360"/>
                <a:gd name="connsiteX51" fmla="*/ 1848712 w 1848712"/>
                <a:gd name="connsiteY51" fmla="*/ 2277064 h 2323360"/>
                <a:gd name="connsiteX52" fmla="*/ 813941 w 1848712"/>
                <a:gd name="connsiteY52" fmla="*/ 2277064 h 2323360"/>
                <a:gd name="connsiteX53" fmla="*/ 880394 w 1848712"/>
                <a:gd name="connsiteY53" fmla="*/ 113797 h 2323360"/>
                <a:gd name="connsiteX54" fmla="*/ 247312 w 1848712"/>
                <a:gd name="connsiteY54" fmla="*/ 321309 h 2323360"/>
                <a:gd name="connsiteX55" fmla="*/ 880394 w 1848712"/>
                <a:gd name="connsiteY55" fmla="*/ 528822 h 2323360"/>
                <a:gd name="connsiteX56" fmla="*/ 1513477 w 1848712"/>
                <a:gd name="connsiteY56" fmla="*/ 321309 h 2323360"/>
                <a:gd name="connsiteX57" fmla="*/ 880394 w 1848712"/>
                <a:gd name="connsiteY57" fmla="*/ 113797 h 2323360"/>
                <a:gd name="connsiteX58" fmla="*/ 880394 w 1848712"/>
                <a:gd name="connsiteY58" fmla="*/ 0 h 2323360"/>
                <a:gd name="connsiteX59" fmla="*/ 1760788 w 1848712"/>
                <a:gd name="connsiteY59" fmla="*/ 288577 h 2323360"/>
                <a:gd name="connsiteX60" fmla="*/ 1760788 w 1848712"/>
                <a:gd name="connsiteY60" fmla="*/ 1238657 h 2323360"/>
                <a:gd name="connsiteX61" fmla="*/ 1457196 w 1848712"/>
                <a:gd name="connsiteY61" fmla="*/ 935064 h 2323360"/>
                <a:gd name="connsiteX62" fmla="*/ 746191 w 1848712"/>
                <a:gd name="connsiteY62" fmla="*/ 935064 h 2323360"/>
                <a:gd name="connsiteX63" fmla="*/ 746191 w 1848712"/>
                <a:gd name="connsiteY63" fmla="*/ 2323360 h 2323360"/>
                <a:gd name="connsiteX64" fmla="*/ 709386 w 1848712"/>
                <a:gd name="connsiteY64" fmla="*/ 2322188 h 2323360"/>
                <a:gd name="connsiteX65" fmla="*/ 5235 w 1848712"/>
                <a:gd name="connsiteY65" fmla="*/ 2056073 h 2323360"/>
                <a:gd name="connsiteX66" fmla="*/ 0 w 1848712"/>
                <a:gd name="connsiteY66" fmla="*/ 2056073 h 2323360"/>
                <a:gd name="connsiteX67" fmla="*/ 0 w 1848712"/>
                <a:gd name="connsiteY67" fmla="*/ 2039053 h 2323360"/>
                <a:gd name="connsiteX68" fmla="*/ 0 w 1848712"/>
                <a:gd name="connsiteY68" fmla="*/ 288577 h 2323360"/>
                <a:gd name="connsiteX69" fmla="*/ 880394 w 1848712"/>
                <a:gd name="connsiteY69" fmla="*/ 0 h 232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848712" h="2323360">
                  <a:moveTo>
                    <a:pt x="1350195" y="1954361"/>
                  </a:moveTo>
                  <a:lnTo>
                    <a:pt x="1569270" y="1954361"/>
                  </a:lnTo>
                  <a:lnTo>
                    <a:pt x="1569270" y="2028656"/>
                  </a:lnTo>
                  <a:lnTo>
                    <a:pt x="1350195" y="2028656"/>
                  </a:lnTo>
                  <a:close/>
                  <a:moveTo>
                    <a:pt x="1061946" y="1954361"/>
                  </a:moveTo>
                  <a:lnTo>
                    <a:pt x="1281021" y="1954361"/>
                  </a:lnTo>
                  <a:lnTo>
                    <a:pt x="1281021" y="2028656"/>
                  </a:lnTo>
                  <a:lnTo>
                    <a:pt x="1061946" y="2028656"/>
                  </a:lnTo>
                  <a:close/>
                  <a:moveTo>
                    <a:pt x="1350195" y="1817100"/>
                  </a:moveTo>
                  <a:lnTo>
                    <a:pt x="1569270" y="1817100"/>
                  </a:lnTo>
                  <a:lnTo>
                    <a:pt x="1569270" y="1891395"/>
                  </a:lnTo>
                  <a:lnTo>
                    <a:pt x="1350195" y="1891395"/>
                  </a:lnTo>
                  <a:close/>
                  <a:moveTo>
                    <a:pt x="1061946" y="1817100"/>
                  </a:moveTo>
                  <a:lnTo>
                    <a:pt x="1281021" y="1817100"/>
                  </a:lnTo>
                  <a:lnTo>
                    <a:pt x="1281021" y="1891395"/>
                  </a:lnTo>
                  <a:lnTo>
                    <a:pt x="1061946" y="1891395"/>
                  </a:lnTo>
                  <a:close/>
                  <a:moveTo>
                    <a:pt x="1350195" y="1679839"/>
                  </a:moveTo>
                  <a:lnTo>
                    <a:pt x="1569270" y="1679839"/>
                  </a:lnTo>
                  <a:lnTo>
                    <a:pt x="1569270" y="1754134"/>
                  </a:lnTo>
                  <a:lnTo>
                    <a:pt x="1350195" y="1754134"/>
                  </a:lnTo>
                  <a:close/>
                  <a:moveTo>
                    <a:pt x="1061946" y="1679839"/>
                  </a:moveTo>
                  <a:lnTo>
                    <a:pt x="1281021" y="1679839"/>
                  </a:lnTo>
                  <a:lnTo>
                    <a:pt x="1281021" y="1754134"/>
                  </a:lnTo>
                  <a:lnTo>
                    <a:pt x="1061946" y="1754134"/>
                  </a:lnTo>
                  <a:close/>
                  <a:moveTo>
                    <a:pt x="1350195" y="1539558"/>
                  </a:moveTo>
                  <a:lnTo>
                    <a:pt x="1569270" y="1539558"/>
                  </a:lnTo>
                  <a:lnTo>
                    <a:pt x="1569270" y="1613853"/>
                  </a:lnTo>
                  <a:lnTo>
                    <a:pt x="1350195" y="1613853"/>
                  </a:lnTo>
                  <a:close/>
                  <a:moveTo>
                    <a:pt x="1061946" y="1539558"/>
                  </a:moveTo>
                  <a:lnTo>
                    <a:pt x="1281021" y="1539558"/>
                  </a:lnTo>
                  <a:lnTo>
                    <a:pt x="1281021" y="1613853"/>
                  </a:lnTo>
                  <a:lnTo>
                    <a:pt x="1061946" y="1613853"/>
                  </a:lnTo>
                  <a:close/>
                  <a:moveTo>
                    <a:pt x="1061946" y="1399277"/>
                  </a:moveTo>
                  <a:lnTo>
                    <a:pt x="1281021" y="1399277"/>
                  </a:lnTo>
                  <a:lnTo>
                    <a:pt x="1281021" y="1473572"/>
                  </a:lnTo>
                  <a:lnTo>
                    <a:pt x="1061946" y="1473572"/>
                  </a:lnTo>
                  <a:close/>
                  <a:moveTo>
                    <a:pt x="1061946" y="1258996"/>
                  </a:moveTo>
                  <a:lnTo>
                    <a:pt x="1281021" y="1258996"/>
                  </a:lnTo>
                  <a:lnTo>
                    <a:pt x="1281021" y="1333291"/>
                  </a:lnTo>
                  <a:lnTo>
                    <a:pt x="1061946" y="1333291"/>
                  </a:lnTo>
                  <a:close/>
                  <a:moveTo>
                    <a:pt x="879780" y="1087839"/>
                  </a:moveTo>
                  <a:lnTo>
                    <a:pt x="879780" y="2196257"/>
                  </a:lnTo>
                  <a:lnTo>
                    <a:pt x="1782872" y="2196257"/>
                  </a:lnTo>
                  <a:lnTo>
                    <a:pt x="1782872" y="1457029"/>
                  </a:lnTo>
                  <a:lnTo>
                    <a:pt x="1739146" y="1413303"/>
                  </a:lnTo>
                  <a:lnTo>
                    <a:pt x="1419754" y="1413303"/>
                  </a:lnTo>
                  <a:lnTo>
                    <a:pt x="1419754" y="1093909"/>
                  </a:lnTo>
                  <a:lnTo>
                    <a:pt x="1413684" y="1087839"/>
                  </a:lnTo>
                  <a:close/>
                  <a:moveTo>
                    <a:pt x="813941" y="1007033"/>
                  </a:moveTo>
                  <a:lnTo>
                    <a:pt x="1425693" y="1007033"/>
                  </a:lnTo>
                  <a:lnTo>
                    <a:pt x="1848712" y="1430053"/>
                  </a:lnTo>
                  <a:lnTo>
                    <a:pt x="1848712" y="2277064"/>
                  </a:lnTo>
                  <a:lnTo>
                    <a:pt x="813941" y="2277064"/>
                  </a:lnTo>
                  <a:close/>
                  <a:moveTo>
                    <a:pt x="880394" y="113797"/>
                  </a:moveTo>
                  <a:cubicBezTo>
                    <a:pt x="530752" y="113797"/>
                    <a:pt x="247312" y="206703"/>
                    <a:pt x="247312" y="321309"/>
                  </a:cubicBezTo>
                  <a:cubicBezTo>
                    <a:pt x="247312" y="435915"/>
                    <a:pt x="530752" y="528822"/>
                    <a:pt x="880394" y="528822"/>
                  </a:cubicBezTo>
                  <a:cubicBezTo>
                    <a:pt x="1230036" y="528822"/>
                    <a:pt x="1513477" y="435915"/>
                    <a:pt x="1513477" y="321309"/>
                  </a:cubicBezTo>
                  <a:cubicBezTo>
                    <a:pt x="1513477" y="206703"/>
                    <a:pt x="1230036" y="113797"/>
                    <a:pt x="880394" y="113797"/>
                  </a:cubicBezTo>
                  <a:close/>
                  <a:moveTo>
                    <a:pt x="880394" y="0"/>
                  </a:moveTo>
                  <a:cubicBezTo>
                    <a:pt x="1366623" y="0"/>
                    <a:pt x="1760788" y="129200"/>
                    <a:pt x="1760788" y="288577"/>
                  </a:cubicBezTo>
                  <a:lnTo>
                    <a:pt x="1760788" y="1238657"/>
                  </a:lnTo>
                  <a:lnTo>
                    <a:pt x="1457196" y="935064"/>
                  </a:lnTo>
                  <a:lnTo>
                    <a:pt x="746191" y="935064"/>
                  </a:lnTo>
                  <a:lnTo>
                    <a:pt x="746191" y="2323360"/>
                  </a:lnTo>
                  <a:lnTo>
                    <a:pt x="709386" y="2322188"/>
                  </a:lnTo>
                  <a:cubicBezTo>
                    <a:pt x="322191" y="2297192"/>
                    <a:pt x="26471" y="2188905"/>
                    <a:pt x="5235" y="2056073"/>
                  </a:cubicBezTo>
                  <a:lnTo>
                    <a:pt x="0" y="2056073"/>
                  </a:lnTo>
                  <a:lnTo>
                    <a:pt x="0" y="2039053"/>
                  </a:lnTo>
                  <a:lnTo>
                    <a:pt x="0" y="288577"/>
                  </a:lnTo>
                  <a:cubicBezTo>
                    <a:pt x="0" y="129200"/>
                    <a:pt x="394166" y="0"/>
                    <a:pt x="880394" y="0"/>
                  </a:cubicBez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81" name="Add-Ons Icon"/>
            <p:cNvSpPr>
              <a:spLocks noChangeAspect="1"/>
            </p:cNvSpPr>
            <p:nvPr/>
          </p:nvSpPr>
          <p:spPr>
            <a:xfrm>
              <a:off x="4816917" y="612099"/>
              <a:ext cx="792713" cy="792713"/>
            </a:xfrm>
            <a:custGeom>
              <a:avLst/>
              <a:gdLst>
                <a:gd name="connsiteX0" fmla="*/ 351753 w 2153776"/>
                <a:gd name="connsiteY0" fmla="*/ 1122366 h 2085020"/>
                <a:gd name="connsiteX1" fmla="*/ 142203 w 2153776"/>
                <a:gd name="connsiteY1" fmla="*/ 1541466 h 2085020"/>
                <a:gd name="connsiteX2" fmla="*/ 351753 w 2153776"/>
                <a:gd name="connsiteY2" fmla="*/ 1960566 h 2085020"/>
                <a:gd name="connsiteX3" fmla="*/ 924518 w 2153776"/>
                <a:gd name="connsiteY3" fmla="*/ 1960566 h 2085020"/>
                <a:gd name="connsiteX4" fmla="*/ 1134068 w 2153776"/>
                <a:gd name="connsiteY4" fmla="*/ 1541466 h 2085020"/>
                <a:gd name="connsiteX5" fmla="*/ 924518 w 2153776"/>
                <a:gd name="connsiteY5" fmla="*/ 1122366 h 2085020"/>
                <a:gd name="connsiteX6" fmla="*/ 1388075 w 2153776"/>
                <a:gd name="connsiteY6" fmla="*/ 815802 h 2085020"/>
                <a:gd name="connsiteX7" fmla="*/ 1699492 w 2153776"/>
                <a:gd name="connsiteY7" fmla="*/ 815802 h 2085020"/>
                <a:gd name="connsiteX8" fmla="*/ 1813426 w 2153776"/>
                <a:gd name="connsiteY8" fmla="*/ 1043671 h 2085020"/>
                <a:gd name="connsiteX9" fmla="*/ 1699492 w 2153776"/>
                <a:gd name="connsiteY9" fmla="*/ 1271540 h 2085020"/>
                <a:gd name="connsiteX10" fmla="*/ 1388075 w 2153776"/>
                <a:gd name="connsiteY10" fmla="*/ 1271540 h 2085020"/>
                <a:gd name="connsiteX11" fmla="*/ 1274140 w 2153776"/>
                <a:gd name="connsiteY11" fmla="*/ 1043671 h 2085020"/>
                <a:gd name="connsiteX12" fmla="*/ 1226453 w 2153776"/>
                <a:gd name="connsiteY12" fmla="*/ 604594 h 2085020"/>
                <a:gd name="connsiteX13" fmla="*/ 1016903 w 2153776"/>
                <a:gd name="connsiteY13" fmla="*/ 1023694 h 2085020"/>
                <a:gd name="connsiteX14" fmla="*/ 1226453 w 2153776"/>
                <a:gd name="connsiteY14" fmla="*/ 1442794 h 2085020"/>
                <a:gd name="connsiteX15" fmla="*/ 1799218 w 2153776"/>
                <a:gd name="connsiteY15" fmla="*/ 1442794 h 2085020"/>
                <a:gd name="connsiteX16" fmla="*/ 2008768 w 2153776"/>
                <a:gd name="connsiteY16" fmla="*/ 1023694 h 2085020"/>
                <a:gd name="connsiteX17" fmla="*/ 1799218 w 2153776"/>
                <a:gd name="connsiteY17" fmla="*/ 604594 h 2085020"/>
                <a:gd name="connsiteX18" fmla="*/ 561193 w 2153776"/>
                <a:gd name="connsiteY18" fmla="*/ 155209 h 2085020"/>
                <a:gd name="connsiteX19" fmla="*/ 561193 w 2153776"/>
                <a:gd name="connsiteY19" fmla="*/ 421907 h 2085020"/>
                <a:gd name="connsiteX20" fmla="*/ 294495 w 2153776"/>
                <a:gd name="connsiteY20" fmla="*/ 421907 h 2085020"/>
                <a:gd name="connsiteX21" fmla="*/ 294495 w 2153776"/>
                <a:gd name="connsiteY21" fmla="*/ 623841 h 2085020"/>
                <a:gd name="connsiteX22" fmla="*/ 561193 w 2153776"/>
                <a:gd name="connsiteY22" fmla="*/ 623841 h 2085020"/>
                <a:gd name="connsiteX23" fmla="*/ 561193 w 2153776"/>
                <a:gd name="connsiteY23" fmla="*/ 890539 h 2085020"/>
                <a:gd name="connsiteX24" fmla="*/ 759317 w 2153776"/>
                <a:gd name="connsiteY24" fmla="*/ 890539 h 2085020"/>
                <a:gd name="connsiteX25" fmla="*/ 759317 w 2153776"/>
                <a:gd name="connsiteY25" fmla="*/ 623841 h 2085020"/>
                <a:gd name="connsiteX26" fmla="*/ 1026015 w 2153776"/>
                <a:gd name="connsiteY26" fmla="*/ 623841 h 2085020"/>
                <a:gd name="connsiteX27" fmla="*/ 1026015 w 2153776"/>
                <a:gd name="connsiteY27" fmla="*/ 421907 h 2085020"/>
                <a:gd name="connsiteX28" fmla="*/ 759317 w 2153776"/>
                <a:gd name="connsiteY28" fmla="*/ 421907 h 2085020"/>
                <a:gd name="connsiteX29" fmla="*/ 759317 w 2153776"/>
                <a:gd name="connsiteY29" fmla="*/ 155209 h 2085020"/>
                <a:gd name="connsiteX30" fmla="*/ 270821 w 2153776"/>
                <a:gd name="connsiteY30" fmla="*/ 0 h 2085020"/>
                <a:gd name="connsiteX31" fmla="*/ 1011059 w 2153776"/>
                <a:gd name="connsiteY31" fmla="*/ 0 h 2085020"/>
                <a:gd name="connsiteX32" fmla="*/ 1262074 w 2153776"/>
                <a:gd name="connsiteY32" fmla="*/ 502029 h 2085020"/>
                <a:gd name="connsiteX33" fmla="*/ 1882955 w 2153776"/>
                <a:gd name="connsiteY33" fmla="*/ 502029 h 2085020"/>
                <a:gd name="connsiteX34" fmla="*/ 2153776 w 2153776"/>
                <a:gd name="connsiteY34" fmla="*/ 1043671 h 2085020"/>
                <a:gd name="connsiteX35" fmla="*/ 1882955 w 2153776"/>
                <a:gd name="connsiteY35" fmla="*/ 1585313 h 2085020"/>
                <a:gd name="connsiteX36" fmla="*/ 1261153 w 2153776"/>
                <a:gd name="connsiteY36" fmla="*/ 1585313 h 2085020"/>
                <a:gd name="connsiteX37" fmla="*/ 1011299 w 2153776"/>
                <a:gd name="connsiteY37" fmla="*/ 2085020 h 2085020"/>
                <a:gd name="connsiteX38" fmla="*/ 271061 w 2153776"/>
                <a:gd name="connsiteY38" fmla="*/ 2085020 h 2085020"/>
                <a:gd name="connsiteX39" fmla="*/ 240 w 2153776"/>
                <a:gd name="connsiteY39" fmla="*/ 1543378 h 2085020"/>
                <a:gd name="connsiteX40" fmla="*/ 250554 w 2153776"/>
                <a:gd name="connsiteY40" fmla="*/ 1042750 h 2085020"/>
                <a:gd name="connsiteX41" fmla="*/ 0 w 2153776"/>
                <a:gd name="connsiteY41" fmla="*/ 541642 h 208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153776" h="2085020">
                  <a:moveTo>
                    <a:pt x="351753" y="1122366"/>
                  </a:moveTo>
                  <a:lnTo>
                    <a:pt x="142203" y="1541466"/>
                  </a:lnTo>
                  <a:lnTo>
                    <a:pt x="351753" y="1960566"/>
                  </a:lnTo>
                  <a:lnTo>
                    <a:pt x="924518" y="1960566"/>
                  </a:lnTo>
                  <a:lnTo>
                    <a:pt x="1134068" y="1541466"/>
                  </a:lnTo>
                  <a:lnTo>
                    <a:pt x="924518" y="1122366"/>
                  </a:lnTo>
                  <a:close/>
                  <a:moveTo>
                    <a:pt x="1388075" y="815802"/>
                  </a:moveTo>
                  <a:lnTo>
                    <a:pt x="1699492" y="815802"/>
                  </a:lnTo>
                  <a:lnTo>
                    <a:pt x="1813426" y="1043671"/>
                  </a:lnTo>
                  <a:lnTo>
                    <a:pt x="1699492" y="1271540"/>
                  </a:lnTo>
                  <a:lnTo>
                    <a:pt x="1388075" y="1271540"/>
                  </a:lnTo>
                  <a:lnTo>
                    <a:pt x="1274140" y="1043671"/>
                  </a:lnTo>
                  <a:close/>
                  <a:moveTo>
                    <a:pt x="1226453" y="604594"/>
                  </a:moveTo>
                  <a:lnTo>
                    <a:pt x="1016903" y="1023694"/>
                  </a:lnTo>
                  <a:lnTo>
                    <a:pt x="1226453" y="1442794"/>
                  </a:lnTo>
                  <a:lnTo>
                    <a:pt x="1799218" y="1442794"/>
                  </a:lnTo>
                  <a:lnTo>
                    <a:pt x="2008768" y="1023694"/>
                  </a:lnTo>
                  <a:lnTo>
                    <a:pt x="1799218" y="604594"/>
                  </a:lnTo>
                  <a:close/>
                  <a:moveTo>
                    <a:pt x="561193" y="155209"/>
                  </a:moveTo>
                  <a:lnTo>
                    <a:pt x="561193" y="421907"/>
                  </a:lnTo>
                  <a:lnTo>
                    <a:pt x="294495" y="421907"/>
                  </a:lnTo>
                  <a:lnTo>
                    <a:pt x="294495" y="623841"/>
                  </a:lnTo>
                  <a:lnTo>
                    <a:pt x="561193" y="623841"/>
                  </a:lnTo>
                  <a:lnTo>
                    <a:pt x="561193" y="890539"/>
                  </a:lnTo>
                  <a:lnTo>
                    <a:pt x="759317" y="890539"/>
                  </a:lnTo>
                  <a:lnTo>
                    <a:pt x="759317" y="623841"/>
                  </a:lnTo>
                  <a:lnTo>
                    <a:pt x="1026015" y="623841"/>
                  </a:lnTo>
                  <a:lnTo>
                    <a:pt x="1026015" y="421907"/>
                  </a:lnTo>
                  <a:lnTo>
                    <a:pt x="759317" y="421907"/>
                  </a:lnTo>
                  <a:lnTo>
                    <a:pt x="759317" y="155209"/>
                  </a:lnTo>
                  <a:close/>
                  <a:moveTo>
                    <a:pt x="270821" y="0"/>
                  </a:moveTo>
                  <a:lnTo>
                    <a:pt x="1011059" y="0"/>
                  </a:lnTo>
                  <a:lnTo>
                    <a:pt x="1262074" y="502029"/>
                  </a:lnTo>
                  <a:lnTo>
                    <a:pt x="1882955" y="502029"/>
                  </a:lnTo>
                  <a:lnTo>
                    <a:pt x="2153776" y="1043671"/>
                  </a:lnTo>
                  <a:lnTo>
                    <a:pt x="1882955" y="1585313"/>
                  </a:lnTo>
                  <a:lnTo>
                    <a:pt x="1261153" y="1585313"/>
                  </a:lnTo>
                  <a:lnTo>
                    <a:pt x="1011299" y="2085020"/>
                  </a:lnTo>
                  <a:lnTo>
                    <a:pt x="271061" y="2085020"/>
                  </a:lnTo>
                  <a:lnTo>
                    <a:pt x="240" y="1543378"/>
                  </a:lnTo>
                  <a:lnTo>
                    <a:pt x="250554" y="1042750"/>
                  </a:lnTo>
                  <a:lnTo>
                    <a:pt x="0" y="541642"/>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grpSp>
        <p:nvGrpSpPr>
          <p:cNvPr id="57" name="IaaS Offerings"/>
          <p:cNvGrpSpPr/>
          <p:nvPr/>
        </p:nvGrpSpPr>
        <p:grpSpPr>
          <a:xfrm>
            <a:off x="3874352" y="5281742"/>
            <a:ext cx="4521009" cy="695098"/>
            <a:chOff x="3874352" y="5281742"/>
            <a:chExt cx="4521009" cy="695098"/>
          </a:xfrm>
        </p:grpSpPr>
        <p:sp>
          <p:nvSpPr>
            <p:cNvPr id="82" name="Networks Icon"/>
            <p:cNvSpPr>
              <a:spLocks noChangeAspect="1"/>
            </p:cNvSpPr>
            <p:nvPr/>
          </p:nvSpPr>
          <p:spPr>
            <a:xfrm>
              <a:off x="7495906" y="5371332"/>
              <a:ext cx="899455" cy="499939"/>
            </a:xfrm>
            <a:custGeom>
              <a:avLst/>
              <a:gdLst>
                <a:gd name="connsiteX0" fmla="*/ 1744898 w 2580805"/>
                <a:gd name="connsiteY0" fmla="*/ 547589 h 1434470"/>
                <a:gd name="connsiteX1" fmla="*/ 1914544 w 2580805"/>
                <a:gd name="connsiteY1" fmla="*/ 717233 h 1434470"/>
                <a:gd name="connsiteX2" fmla="*/ 1744898 w 2580805"/>
                <a:gd name="connsiteY2" fmla="*/ 886877 h 1434470"/>
                <a:gd name="connsiteX3" fmla="*/ 1575253 w 2580805"/>
                <a:gd name="connsiteY3" fmla="*/ 717233 h 1434470"/>
                <a:gd name="connsiteX4" fmla="*/ 1744898 w 2580805"/>
                <a:gd name="connsiteY4" fmla="*/ 547589 h 1434470"/>
                <a:gd name="connsiteX5" fmla="*/ 1290403 w 2580805"/>
                <a:gd name="connsiteY5" fmla="*/ 547589 h 1434470"/>
                <a:gd name="connsiteX6" fmla="*/ 1460047 w 2580805"/>
                <a:gd name="connsiteY6" fmla="*/ 717233 h 1434470"/>
                <a:gd name="connsiteX7" fmla="*/ 1290403 w 2580805"/>
                <a:gd name="connsiteY7" fmla="*/ 886877 h 1434470"/>
                <a:gd name="connsiteX8" fmla="*/ 1120757 w 2580805"/>
                <a:gd name="connsiteY8" fmla="*/ 717233 h 1434470"/>
                <a:gd name="connsiteX9" fmla="*/ 1290403 w 2580805"/>
                <a:gd name="connsiteY9" fmla="*/ 547589 h 1434470"/>
                <a:gd name="connsiteX10" fmla="*/ 835907 w 2580805"/>
                <a:gd name="connsiteY10" fmla="*/ 547589 h 1434470"/>
                <a:gd name="connsiteX11" fmla="*/ 1005551 w 2580805"/>
                <a:gd name="connsiteY11" fmla="*/ 717233 h 1434470"/>
                <a:gd name="connsiteX12" fmla="*/ 835906 w 2580805"/>
                <a:gd name="connsiteY12" fmla="*/ 886877 h 1434470"/>
                <a:gd name="connsiteX13" fmla="*/ 666261 w 2580805"/>
                <a:gd name="connsiteY13" fmla="*/ 717233 h 1434470"/>
                <a:gd name="connsiteX14" fmla="*/ 835907 w 2580805"/>
                <a:gd name="connsiteY14" fmla="*/ 547589 h 1434470"/>
                <a:gd name="connsiteX15" fmla="*/ 1863569 w 2580805"/>
                <a:gd name="connsiteY15" fmla="*/ 5 h 1434470"/>
                <a:gd name="connsiteX16" fmla="*/ 2580805 w 2580805"/>
                <a:gd name="connsiteY16" fmla="*/ 717241 h 1434470"/>
                <a:gd name="connsiteX17" fmla="*/ 1863576 w 2580805"/>
                <a:gd name="connsiteY17" fmla="*/ 1434470 h 1434470"/>
                <a:gd name="connsiteX18" fmla="*/ 1756750 w 2580805"/>
                <a:gd name="connsiteY18" fmla="*/ 1327645 h 1434470"/>
                <a:gd name="connsiteX19" fmla="*/ 2367165 w 2580805"/>
                <a:gd name="connsiteY19" fmla="*/ 717230 h 1434470"/>
                <a:gd name="connsiteX20" fmla="*/ 1756754 w 2580805"/>
                <a:gd name="connsiteY20" fmla="*/ 106819 h 1434470"/>
                <a:gd name="connsiteX21" fmla="*/ 717236 w 2580805"/>
                <a:gd name="connsiteY21" fmla="*/ 0 h 1434470"/>
                <a:gd name="connsiteX22" fmla="*/ 824051 w 2580805"/>
                <a:gd name="connsiteY22" fmla="*/ 106815 h 1434470"/>
                <a:gd name="connsiteX23" fmla="*/ 213640 w 2580805"/>
                <a:gd name="connsiteY23" fmla="*/ 717226 h 1434470"/>
                <a:gd name="connsiteX24" fmla="*/ 824054 w 2580805"/>
                <a:gd name="connsiteY24" fmla="*/ 1327640 h 1434470"/>
                <a:gd name="connsiteX25" fmla="*/ 717229 w 2580805"/>
                <a:gd name="connsiteY25" fmla="*/ 1434465 h 1434470"/>
                <a:gd name="connsiteX26" fmla="*/ 0 w 2580805"/>
                <a:gd name="connsiteY26" fmla="*/ 717236 h 1434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80805" h="1434470">
                  <a:moveTo>
                    <a:pt x="1744898" y="547589"/>
                  </a:moveTo>
                  <a:cubicBezTo>
                    <a:pt x="1838590" y="547589"/>
                    <a:pt x="1914543" y="623541"/>
                    <a:pt x="1914544" y="717233"/>
                  </a:cubicBezTo>
                  <a:cubicBezTo>
                    <a:pt x="1914543" y="810926"/>
                    <a:pt x="1838590" y="886877"/>
                    <a:pt x="1744898" y="886877"/>
                  </a:cubicBezTo>
                  <a:cubicBezTo>
                    <a:pt x="1651207" y="886877"/>
                    <a:pt x="1575253" y="810925"/>
                    <a:pt x="1575253" y="717233"/>
                  </a:cubicBezTo>
                  <a:cubicBezTo>
                    <a:pt x="1575253" y="623541"/>
                    <a:pt x="1651207" y="547589"/>
                    <a:pt x="1744898" y="547589"/>
                  </a:cubicBezTo>
                  <a:close/>
                  <a:moveTo>
                    <a:pt x="1290403" y="547589"/>
                  </a:moveTo>
                  <a:cubicBezTo>
                    <a:pt x="1384094" y="547589"/>
                    <a:pt x="1460047" y="623541"/>
                    <a:pt x="1460047" y="717233"/>
                  </a:cubicBezTo>
                  <a:cubicBezTo>
                    <a:pt x="1460047" y="810926"/>
                    <a:pt x="1384094" y="886877"/>
                    <a:pt x="1290403" y="886877"/>
                  </a:cubicBezTo>
                  <a:cubicBezTo>
                    <a:pt x="1196710" y="886877"/>
                    <a:pt x="1120757" y="810925"/>
                    <a:pt x="1120757" y="717233"/>
                  </a:cubicBezTo>
                  <a:cubicBezTo>
                    <a:pt x="1120757" y="623542"/>
                    <a:pt x="1196710" y="547589"/>
                    <a:pt x="1290403" y="547589"/>
                  </a:cubicBezTo>
                  <a:close/>
                  <a:moveTo>
                    <a:pt x="835907" y="547589"/>
                  </a:moveTo>
                  <a:cubicBezTo>
                    <a:pt x="929599" y="547589"/>
                    <a:pt x="1005552" y="623541"/>
                    <a:pt x="1005551" y="717233"/>
                  </a:cubicBezTo>
                  <a:cubicBezTo>
                    <a:pt x="1005551" y="810925"/>
                    <a:pt x="929599" y="886877"/>
                    <a:pt x="835906" y="886877"/>
                  </a:cubicBezTo>
                  <a:cubicBezTo>
                    <a:pt x="742214" y="886877"/>
                    <a:pt x="666261" y="810925"/>
                    <a:pt x="666261" y="717233"/>
                  </a:cubicBezTo>
                  <a:cubicBezTo>
                    <a:pt x="666261" y="623542"/>
                    <a:pt x="742214" y="547589"/>
                    <a:pt x="835907" y="547589"/>
                  </a:cubicBezTo>
                  <a:close/>
                  <a:moveTo>
                    <a:pt x="1863569" y="5"/>
                  </a:moveTo>
                  <a:lnTo>
                    <a:pt x="2580805" y="717241"/>
                  </a:lnTo>
                  <a:lnTo>
                    <a:pt x="1863576" y="1434470"/>
                  </a:lnTo>
                  <a:lnTo>
                    <a:pt x="1756750" y="1327645"/>
                  </a:lnTo>
                  <a:lnTo>
                    <a:pt x="2367165" y="717230"/>
                  </a:lnTo>
                  <a:lnTo>
                    <a:pt x="1756754" y="106819"/>
                  </a:lnTo>
                  <a:close/>
                  <a:moveTo>
                    <a:pt x="717236" y="0"/>
                  </a:moveTo>
                  <a:lnTo>
                    <a:pt x="824051" y="106815"/>
                  </a:lnTo>
                  <a:lnTo>
                    <a:pt x="213640" y="717226"/>
                  </a:lnTo>
                  <a:lnTo>
                    <a:pt x="824054" y="1327640"/>
                  </a:lnTo>
                  <a:lnTo>
                    <a:pt x="717229" y="1434465"/>
                  </a:lnTo>
                  <a:lnTo>
                    <a:pt x="0" y="717236"/>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87" name="Virtual Machine Icon"/>
            <p:cNvSpPr>
              <a:spLocks noChangeAspect="1"/>
            </p:cNvSpPr>
            <p:nvPr/>
          </p:nvSpPr>
          <p:spPr>
            <a:xfrm>
              <a:off x="3874352" y="5281742"/>
              <a:ext cx="748166" cy="695098"/>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3200"/>
            </a:p>
          </p:txBody>
        </p:sp>
        <p:sp>
          <p:nvSpPr>
            <p:cNvPr id="84" name="Storage Icon"/>
            <p:cNvSpPr>
              <a:spLocks noChangeAspect="1"/>
            </p:cNvSpPr>
            <p:nvPr/>
          </p:nvSpPr>
          <p:spPr>
            <a:xfrm>
              <a:off x="5699818" y="5290804"/>
              <a:ext cx="796501" cy="660997"/>
            </a:xfrm>
            <a:custGeom>
              <a:avLst/>
              <a:gdLst>
                <a:gd name="connsiteX0" fmla="*/ 2252121 w 3083700"/>
                <a:gd name="connsiteY0" fmla="*/ 2007454 h 2559086"/>
                <a:gd name="connsiteX1" fmla="*/ 2252121 w 3083700"/>
                <a:gd name="connsiteY1" fmla="*/ 2359879 h 2559086"/>
                <a:gd name="connsiteX2" fmla="*/ 2878866 w 3083700"/>
                <a:gd name="connsiteY2" fmla="*/ 2359879 h 2559086"/>
                <a:gd name="connsiteX3" fmla="*/ 2878866 w 3083700"/>
                <a:gd name="connsiteY3" fmla="*/ 2007454 h 2559086"/>
                <a:gd name="connsiteX4" fmla="*/ 1569692 w 3083700"/>
                <a:gd name="connsiteY4" fmla="*/ 2007454 h 2559086"/>
                <a:gd name="connsiteX5" fmla="*/ 1569692 w 3083700"/>
                <a:gd name="connsiteY5" fmla="*/ 2359879 h 2559086"/>
                <a:gd name="connsiteX6" fmla="*/ 2196437 w 3083700"/>
                <a:gd name="connsiteY6" fmla="*/ 2359879 h 2559086"/>
                <a:gd name="connsiteX7" fmla="*/ 2196437 w 3083700"/>
                <a:gd name="connsiteY7" fmla="*/ 2007454 h 2559086"/>
                <a:gd name="connsiteX8" fmla="*/ 887263 w 3083700"/>
                <a:gd name="connsiteY8" fmla="*/ 2007454 h 2559086"/>
                <a:gd name="connsiteX9" fmla="*/ 887263 w 3083700"/>
                <a:gd name="connsiteY9" fmla="*/ 2359879 h 2559086"/>
                <a:gd name="connsiteX10" fmla="*/ 1514008 w 3083700"/>
                <a:gd name="connsiteY10" fmla="*/ 2359879 h 2559086"/>
                <a:gd name="connsiteX11" fmla="*/ 1514008 w 3083700"/>
                <a:gd name="connsiteY11" fmla="*/ 2007454 h 2559086"/>
                <a:gd name="connsiteX12" fmla="*/ 204834 w 3083700"/>
                <a:gd name="connsiteY12" fmla="*/ 2007454 h 2559086"/>
                <a:gd name="connsiteX13" fmla="*/ 204834 w 3083700"/>
                <a:gd name="connsiteY13" fmla="*/ 2359879 h 2559086"/>
                <a:gd name="connsiteX14" fmla="*/ 831579 w 3083700"/>
                <a:gd name="connsiteY14" fmla="*/ 2359879 h 2559086"/>
                <a:gd name="connsiteX15" fmla="*/ 831579 w 3083700"/>
                <a:gd name="connsiteY15" fmla="*/ 2007454 h 2559086"/>
                <a:gd name="connsiteX16" fmla="*/ 2252121 w 3083700"/>
                <a:gd name="connsiteY16" fmla="*/ 1570202 h 2559086"/>
                <a:gd name="connsiteX17" fmla="*/ 2252121 w 3083700"/>
                <a:gd name="connsiteY17" fmla="*/ 1922627 h 2559086"/>
                <a:gd name="connsiteX18" fmla="*/ 2878866 w 3083700"/>
                <a:gd name="connsiteY18" fmla="*/ 1922627 h 2559086"/>
                <a:gd name="connsiteX19" fmla="*/ 2878866 w 3083700"/>
                <a:gd name="connsiteY19" fmla="*/ 1570202 h 2559086"/>
                <a:gd name="connsiteX20" fmla="*/ 1569692 w 3083700"/>
                <a:gd name="connsiteY20" fmla="*/ 1570202 h 2559086"/>
                <a:gd name="connsiteX21" fmla="*/ 1569692 w 3083700"/>
                <a:gd name="connsiteY21" fmla="*/ 1922627 h 2559086"/>
                <a:gd name="connsiteX22" fmla="*/ 2196437 w 3083700"/>
                <a:gd name="connsiteY22" fmla="*/ 1922627 h 2559086"/>
                <a:gd name="connsiteX23" fmla="*/ 2196437 w 3083700"/>
                <a:gd name="connsiteY23" fmla="*/ 1570202 h 2559086"/>
                <a:gd name="connsiteX24" fmla="*/ 887263 w 3083700"/>
                <a:gd name="connsiteY24" fmla="*/ 1570202 h 2559086"/>
                <a:gd name="connsiteX25" fmla="*/ 887263 w 3083700"/>
                <a:gd name="connsiteY25" fmla="*/ 1922627 h 2559086"/>
                <a:gd name="connsiteX26" fmla="*/ 1514008 w 3083700"/>
                <a:gd name="connsiteY26" fmla="*/ 1922627 h 2559086"/>
                <a:gd name="connsiteX27" fmla="*/ 1514008 w 3083700"/>
                <a:gd name="connsiteY27" fmla="*/ 1570202 h 2559086"/>
                <a:gd name="connsiteX28" fmla="*/ 204834 w 3083700"/>
                <a:gd name="connsiteY28" fmla="*/ 1570202 h 2559086"/>
                <a:gd name="connsiteX29" fmla="*/ 204834 w 3083700"/>
                <a:gd name="connsiteY29" fmla="*/ 1922627 h 2559086"/>
                <a:gd name="connsiteX30" fmla="*/ 831579 w 3083700"/>
                <a:gd name="connsiteY30" fmla="*/ 1922627 h 2559086"/>
                <a:gd name="connsiteX31" fmla="*/ 831579 w 3083700"/>
                <a:gd name="connsiteY31" fmla="*/ 1570202 h 2559086"/>
                <a:gd name="connsiteX32" fmla="*/ 2252121 w 3083700"/>
                <a:gd name="connsiteY32" fmla="*/ 1132950 h 2559086"/>
                <a:gd name="connsiteX33" fmla="*/ 2252121 w 3083700"/>
                <a:gd name="connsiteY33" fmla="*/ 1485375 h 2559086"/>
                <a:gd name="connsiteX34" fmla="*/ 2878866 w 3083700"/>
                <a:gd name="connsiteY34" fmla="*/ 1485375 h 2559086"/>
                <a:gd name="connsiteX35" fmla="*/ 2878866 w 3083700"/>
                <a:gd name="connsiteY35" fmla="*/ 1132950 h 2559086"/>
                <a:gd name="connsiteX36" fmla="*/ 1569692 w 3083700"/>
                <a:gd name="connsiteY36" fmla="*/ 1132950 h 2559086"/>
                <a:gd name="connsiteX37" fmla="*/ 1569692 w 3083700"/>
                <a:gd name="connsiteY37" fmla="*/ 1485375 h 2559086"/>
                <a:gd name="connsiteX38" fmla="*/ 2196437 w 3083700"/>
                <a:gd name="connsiteY38" fmla="*/ 1485375 h 2559086"/>
                <a:gd name="connsiteX39" fmla="*/ 2196437 w 3083700"/>
                <a:gd name="connsiteY39" fmla="*/ 1132950 h 2559086"/>
                <a:gd name="connsiteX40" fmla="*/ 887263 w 3083700"/>
                <a:gd name="connsiteY40" fmla="*/ 1132950 h 2559086"/>
                <a:gd name="connsiteX41" fmla="*/ 887263 w 3083700"/>
                <a:gd name="connsiteY41" fmla="*/ 1485375 h 2559086"/>
                <a:gd name="connsiteX42" fmla="*/ 1514008 w 3083700"/>
                <a:gd name="connsiteY42" fmla="*/ 1485375 h 2559086"/>
                <a:gd name="connsiteX43" fmla="*/ 1514008 w 3083700"/>
                <a:gd name="connsiteY43" fmla="*/ 1132950 h 2559086"/>
                <a:gd name="connsiteX44" fmla="*/ 204834 w 3083700"/>
                <a:gd name="connsiteY44" fmla="*/ 1132950 h 2559086"/>
                <a:gd name="connsiteX45" fmla="*/ 204834 w 3083700"/>
                <a:gd name="connsiteY45" fmla="*/ 1485375 h 2559086"/>
                <a:gd name="connsiteX46" fmla="*/ 831579 w 3083700"/>
                <a:gd name="connsiteY46" fmla="*/ 1485375 h 2559086"/>
                <a:gd name="connsiteX47" fmla="*/ 831579 w 3083700"/>
                <a:gd name="connsiteY47" fmla="*/ 1132950 h 2559086"/>
                <a:gd name="connsiteX48" fmla="*/ 2252121 w 3083700"/>
                <a:gd name="connsiteY48" fmla="*/ 695698 h 2559086"/>
                <a:gd name="connsiteX49" fmla="*/ 2252121 w 3083700"/>
                <a:gd name="connsiteY49" fmla="*/ 1048123 h 2559086"/>
                <a:gd name="connsiteX50" fmla="*/ 2878866 w 3083700"/>
                <a:gd name="connsiteY50" fmla="*/ 1048123 h 2559086"/>
                <a:gd name="connsiteX51" fmla="*/ 2878866 w 3083700"/>
                <a:gd name="connsiteY51" fmla="*/ 695698 h 2559086"/>
                <a:gd name="connsiteX52" fmla="*/ 1569692 w 3083700"/>
                <a:gd name="connsiteY52" fmla="*/ 695698 h 2559086"/>
                <a:gd name="connsiteX53" fmla="*/ 1569692 w 3083700"/>
                <a:gd name="connsiteY53" fmla="*/ 1048123 h 2559086"/>
                <a:gd name="connsiteX54" fmla="*/ 2196437 w 3083700"/>
                <a:gd name="connsiteY54" fmla="*/ 1048123 h 2559086"/>
                <a:gd name="connsiteX55" fmla="*/ 2196437 w 3083700"/>
                <a:gd name="connsiteY55" fmla="*/ 695698 h 2559086"/>
                <a:gd name="connsiteX56" fmla="*/ 887263 w 3083700"/>
                <a:gd name="connsiteY56" fmla="*/ 695698 h 2559086"/>
                <a:gd name="connsiteX57" fmla="*/ 887263 w 3083700"/>
                <a:gd name="connsiteY57" fmla="*/ 1048123 h 2559086"/>
                <a:gd name="connsiteX58" fmla="*/ 1514008 w 3083700"/>
                <a:gd name="connsiteY58" fmla="*/ 1048123 h 2559086"/>
                <a:gd name="connsiteX59" fmla="*/ 1514008 w 3083700"/>
                <a:gd name="connsiteY59" fmla="*/ 695698 h 2559086"/>
                <a:gd name="connsiteX60" fmla="*/ 204834 w 3083700"/>
                <a:gd name="connsiteY60" fmla="*/ 695698 h 2559086"/>
                <a:gd name="connsiteX61" fmla="*/ 204834 w 3083700"/>
                <a:gd name="connsiteY61" fmla="*/ 1048123 h 2559086"/>
                <a:gd name="connsiteX62" fmla="*/ 831579 w 3083700"/>
                <a:gd name="connsiteY62" fmla="*/ 1048123 h 2559086"/>
                <a:gd name="connsiteX63" fmla="*/ 831579 w 3083700"/>
                <a:gd name="connsiteY63" fmla="*/ 695698 h 2559086"/>
                <a:gd name="connsiteX64" fmla="*/ 130744 w 3083700"/>
                <a:gd name="connsiteY64" fmla="*/ 0 h 2559086"/>
                <a:gd name="connsiteX65" fmla="*/ 2952956 w 3083700"/>
                <a:gd name="connsiteY65" fmla="*/ 0 h 2559086"/>
                <a:gd name="connsiteX66" fmla="*/ 3083700 w 3083700"/>
                <a:gd name="connsiteY66" fmla="*/ 130744 h 2559086"/>
                <a:gd name="connsiteX67" fmla="*/ 3083700 w 3083700"/>
                <a:gd name="connsiteY67" fmla="*/ 2428342 h 2559086"/>
                <a:gd name="connsiteX68" fmla="*/ 2952956 w 3083700"/>
                <a:gd name="connsiteY68" fmla="*/ 2559086 h 2559086"/>
                <a:gd name="connsiteX69" fmla="*/ 130744 w 3083700"/>
                <a:gd name="connsiteY69" fmla="*/ 2559086 h 2559086"/>
                <a:gd name="connsiteX70" fmla="*/ 0 w 3083700"/>
                <a:gd name="connsiteY70" fmla="*/ 2428342 h 2559086"/>
                <a:gd name="connsiteX71" fmla="*/ 0 w 3083700"/>
                <a:gd name="connsiteY71" fmla="*/ 130744 h 2559086"/>
                <a:gd name="connsiteX72" fmla="*/ 130744 w 3083700"/>
                <a:gd name="connsiteY72" fmla="*/ 0 h 25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3700" h="2559086">
                  <a:moveTo>
                    <a:pt x="2252121" y="2007454"/>
                  </a:moveTo>
                  <a:lnTo>
                    <a:pt x="2252121" y="2359879"/>
                  </a:lnTo>
                  <a:lnTo>
                    <a:pt x="2878866" y="2359879"/>
                  </a:lnTo>
                  <a:lnTo>
                    <a:pt x="2878866" y="2007454"/>
                  </a:lnTo>
                  <a:close/>
                  <a:moveTo>
                    <a:pt x="1569692" y="2007454"/>
                  </a:moveTo>
                  <a:lnTo>
                    <a:pt x="1569692" y="2359879"/>
                  </a:lnTo>
                  <a:lnTo>
                    <a:pt x="2196437" y="2359879"/>
                  </a:lnTo>
                  <a:lnTo>
                    <a:pt x="2196437" y="2007454"/>
                  </a:lnTo>
                  <a:close/>
                  <a:moveTo>
                    <a:pt x="887263" y="2007454"/>
                  </a:moveTo>
                  <a:lnTo>
                    <a:pt x="887263" y="2359879"/>
                  </a:lnTo>
                  <a:lnTo>
                    <a:pt x="1514008" y="2359879"/>
                  </a:lnTo>
                  <a:lnTo>
                    <a:pt x="1514008" y="2007454"/>
                  </a:lnTo>
                  <a:close/>
                  <a:moveTo>
                    <a:pt x="204834" y="2007454"/>
                  </a:moveTo>
                  <a:lnTo>
                    <a:pt x="204834" y="2359879"/>
                  </a:lnTo>
                  <a:lnTo>
                    <a:pt x="831579" y="2359879"/>
                  </a:lnTo>
                  <a:lnTo>
                    <a:pt x="831579" y="2007454"/>
                  </a:lnTo>
                  <a:close/>
                  <a:moveTo>
                    <a:pt x="2252121" y="1570202"/>
                  </a:moveTo>
                  <a:lnTo>
                    <a:pt x="2252121" y="1922627"/>
                  </a:lnTo>
                  <a:lnTo>
                    <a:pt x="2878866" y="1922627"/>
                  </a:lnTo>
                  <a:lnTo>
                    <a:pt x="2878866" y="1570202"/>
                  </a:lnTo>
                  <a:close/>
                  <a:moveTo>
                    <a:pt x="1569692" y="1570202"/>
                  </a:moveTo>
                  <a:lnTo>
                    <a:pt x="1569692" y="1922627"/>
                  </a:lnTo>
                  <a:lnTo>
                    <a:pt x="2196437" y="1922627"/>
                  </a:lnTo>
                  <a:lnTo>
                    <a:pt x="2196437" y="1570202"/>
                  </a:lnTo>
                  <a:close/>
                  <a:moveTo>
                    <a:pt x="887263" y="1570202"/>
                  </a:moveTo>
                  <a:lnTo>
                    <a:pt x="887263" y="1922627"/>
                  </a:lnTo>
                  <a:lnTo>
                    <a:pt x="1514008" y="1922627"/>
                  </a:lnTo>
                  <a:lnTo>
                    <a:pt x="1514008" y="1570202"/>
                  </a:lnTo>
                  <a:close/>
                  <a:moveTo>
                    <a:pt x="204834" y="1570202"/>
                  </a:moveTo>
                  <a:lnTo>
                    <a:pt x="204834" y="1922627"/>
                  </a:lnTo>
                  <a:lnTo>
                    <a:pt x="831579" y="1922627"/>
                  </a:lnTo>
                  <a:lnTo>
                    <a:pt x="831579" y="1570202"/>
                  </a:lnTo>
                  <a:close/>
                  <a:moveTo>
                    <a:pt x="2252121" y="1132950"/>
                  </a:moveTo>
                  <a:lnTo>
                    <a:pt x="2252121" y="1485375"/>
                  </a:lnTo>
                  <a:lnTo>
                    <a:pt x="2878866" y="1485375"/>
                  </a:lnTo>
                  <a:lnTo>
                    <a:pt x="2878866" y="1132950"/>
                  </a:lnTo>
                  <a:close/>
                  <a:moveTo>
                    <a:pt x="1569692" y="1132950"/>
                  </a:moveTo>
                  <a:lnTo>
                    <a:pt x="1569692" y="1485375"/>
                  </a:lnTo>
                  <a:lnTo>
                    <a:pt x="2196437" y="1485375"/>
                  </a:lnTo>
                  <a:lnTo>
                    <a:pt x="2196437" y="1132950"/>
                  </a:lnTo>
                  <a:close/>
                  <a:moveTo>
                    <a:pt x="887263" y="1132950"/>
                  </a:moveTo>
                  <a:lnTo>
                    <a:pt x="887263" y="1485375"/>
                  </a:lnTo>
                  <a:lnTo>
                    <a:pt x="1514008" y="1485375"/>
                  </a:lnTo>
                  <a:lnTo>
                    <a:pt x="1514008" y="1132950"/>
                  </a:lnTo>
                  <a:close/>
                  <a:moveTo>
                    <a:pt x="204834" y="1132950"/>
                  </a:moveTo>
                  <a:lnTo>
                    <a:pt x="204834" y="1485375"/>
                  </a:lnTo>
                  <a:lnTo>
                    <a:pt x="831579" y="1485375"/>
                  </a:lnTo>
                  <a:lnTo>
                    <a:pt x="831579" y="1132950"/>
                  </a:lnTo>
                  <a:close/>
                  <a:moveTo>
                    <a:pt x="2252121" y="695698"/>
                  </a:moveTo>
                  <a:lnTo>
                    <a:pt x="2252121" y="1048123"/>
                  </a:lnTo>
                  <a:lnTo>
                    <a:pt x="2878866" y="1048123"/>
                  </a:lnTo>
                  <a:lnTo>
                    <a:pt x="2878866" y="695698"/>
                  </a:lnTo>
                  <a:close/>
                  <a:moveTo>
                    <a:pt x="1569692" y="695698"/>
                  </a:moveTo>
                  <a:lnTo>
                    <a:pt x="1569692" y="1048123"/>
                  </a:lnTo>
                  <a:lnTo>
                    <a:pt x="2196437" y="1048123"/>
                  </a:lnTo>
                  <a:lnTo>
                    <a:pt x="2196437" y="695698"/>
                  </a:lnTo>
                  <a:close/>
                  <a:moveTo>
                    <a:pt x="887263" y="695698"/>
                  </a:moveTo>
                  <a:lnTo>
                    <a:pt x="887263" y="1048123"/>
                  </a:lnTo>
                  <a:lnTo>
                    <a:pt x="1514008" y="1048123"/>
                  </a:lnTo>
                  <a:lnTo>
                    <a:pt x="1514008" y="695698"/>
                  </a:lnTo>
                  <a:close/>
                  <a:moveTo>
                    <a:pt x="204834" y="695698"/>
                  </a:moveTo>
                  <a:lnTo>
                    <a:pt x="204834" y="1048123"/>
                  </a:lnTo>
                  <a:lnTo>
                    <a:pt x="831579" y="1048123"/>
                  </a:lnTo>
                  <a:lnTo>
                    <a:pt x="831579" y="695698"/>
                  </a:lnTo>
                  <a:close/>
                  <a:moveTo>
                    <a:pt x="130744" y="0"/>
                  </a:moveTo>
                  <a:lnTo>
                    <a:pt x="2952956" y="0"/>
                  </a:lnTo>
                  <a:cubicBezTo>
                    <a:pt x="3025164" y="0"/>
                    <a:pt x="3083700" y="58536"/>
                    <a:pt x="3083700" y="130744"/>
                  </a:cubicBezTo>
                  <a:lnTo>
                    <a:pt x="3083700" y="2428342"/>
                  </a:lnTo>
                  <a:cubicBezTo>
                    <a:pt x="3083700" y="2500550"/>
                    <a:pt x="3025164" y="2559086"/>
                    <a:pt x="2952956" y="2559086"/>
                  </a:cubicBezTo>
                  <a:lnTo>
                    <a:pt x="130744" y="2559086"/>
                  </a:lnTo>
                  <a:cubicBezTo>
                    <a:pt x="58536" y="2559086"/>
                    <a:pt x="0" y="2500550"/>
                    <a:pt x="0" y="2428342"/>
                  </a:cubicBezTo>
                  <a:lnTo>
                    <a:pt x="0" y="130744"/>
                  </a:lnTo>
                  <a:cubicBezTo>
                    <a:pt x="0" y="58536"/>
                    <a:pt x="58536" y="0"/>
                    <a:pt x="130744"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grpSp>
        <p:nvGrpSpPr>
          <p:cNvPr id="58" name="PaaS Offerings"/>
          <p:cNvGrpSpPr/>
          <p:nvPr/>
        </p:nvGrpSpPr>
        <p:grpSpPr>
          <a:xfrm>
            <a:off x="3796639" y="2555190"/>
            <a:ext cx="4446683" cy="787045"/>
            <a:chOff x="3796639" y="2555190"/>
            <a:chExt cx="4446683" cy="787045"/>
          </a:xfrm>
        </p:grpSpPr>
        <p:sp>
          <p:nvSpPr>
            <p:cNvPr id="85" name="SQL Database Icon"/>
            <p:cNvSpPr>
              <a:spLocks noChangeAspect="1"/>
            </p:cNvSpPr>
            <p:nvPr/>
          </p:nvSpPr>
          <p:spPr>
            <a:xfrm>
              <a:off x="7647944" y="2555190"/>
              <a:ext cx="595378" cy="787045"/>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800" dirty="0">
                <a:solidFill>
                  <a:schemeClr val="tx2"/>
                </a:solidFill>
              </a:endParaRPr>
            </a:p>
          </p:txBody>
        </p:sp>
        <p:sp>
          <p:nvSpPr>
            <p:cNvPr id="86" name="Cloud Services Icon"/>
            <p:cNvSpPr>
              <a:spLocks noChangeAspect="1"/>
            </p:cNvSpPr>
            <p:nvPr/>
          </p:nvSpPr>
          <p:spPr>
            <a:xfrm>
              <a:off x="3796639" y="2566906"/>
              <a:ext cx="903592" cy="763612"/>
            </a:xfrm>
            <a:custGeom>
              <a:avLst/>
              <a:gdLst>
                <a:gd name="connsiteX0" fmla="*/ 1288941 w 3334427"/>
                <a:gd name="connsiteY0" fmla="*/ 1538005 h 2817885"/>
                <a:gd name="connsiteX1" fmla="*/ 1444454 w 3334427"/>
                <a:gd name="connsiteY1" fmla="*/ 1693518 h 2817885"/>
                <a:gd name="connsiteX2" fmla="*/ 1288941 w 3334427"/>
                <a:gd name="connsiteY2" fmla="*/ 1849031 h 2817885"/>
                <a:gd name="connsiteX3" fmla="*/ 1133428 w 3334427"/>
                <a:gd name="connsiteY3" fmla="*/ 1693518 h 2817885"/>
                <a:gd name="connsiteX4" fmla="*/ 1288941 w 3334427"/>
                <a:gd name="connsiteY4" fmla="*/ 1538005 h 2817885"/>
                <a:gd name="connsiteX5" fmla="*/ 1256190 w 3334427"/>
                <a:gd name="connsiteY5" fmla="*/ 1221811 h 2817885"/>
                <a:gd name="connsiteX6" fmla="*/ 1228064 w 3334427"/>
                <a:gd name="connsiteY6" fmla="*/ 1349135 h 2817885"/>
                <a:gd name="connsiteX7" fmla="*/ 1218299 w 3334427"/>
                <a:gd name="connsiteY7" fmla="*/ 1350119 h 2817885"/>
                <a:gd name="connsiteX8" fmla="*/ 1092962 w 3334427"/>
                <a:gd name="connsiteY8" fmla="*/ 1402861 h 2817885"/>
                <a:gd name="connsiteX9" fmla="*/ 1088718 w 3334427"/>
                <a:gd name="connsiteY9" fmla="*/ 1406363 h 2817885"/>
                <a:gd name="connsiteX10" fmla="*/ 979011 w 3334427"/>
                <a:gd name="connsiteY10" fmla="*/ 1336354 h 2817885"/>
                <a:gd name="connsiteX11" fmla="*/ 932235 w 3334427"/>
                <a:gd name="connsiteY11" fmla="*/ 1383131 h 2817885"/>
                <a:gd name="connsiteX12" fmla="*/ 1002209 w 3334427"/>
                <a:gd name="connsiteY12" fmla="*/ 1492783 h 2817885"/>
                <a:gd name="connsiteX13" fmla="*/ 998285 w 3334427"/>
                <a:gd name="connsiteY13" fmla="*/ 1497539 h 2817885"/>
                <a:gd name="connsiteX14" fmla="*/ 945543 w 3334427"/>
                <a:gd name="connsiteY14" fmla="*/ 1622876 h 2817885"/>
                <a:gd name="connsiteX15" fmla="*/ 944625 w 3334427"/>
                <a:gd name="connsiteY15" fmla="*/ 1631978 h 2817885"/>
                <a:gd name="connsiteX16" fmla="*/ 817235 w 3334427"/>
                <a:gd name="connsiteY16" fmla="*/ 1660118 h 2817885"/>
                <a:gd name="connsiteX17" fmla="*/ 817234 w 3334427"/>
                <a:gd name="connsiteY17" fmla="*/ 1726269 h 2817885"/>
                <a:gd name="connsiteX18" fmla="*/ 944558 w 3334427"/>
                <a:gd name="connsiteY18" fmla="*/ 1754394 h 2817885"/>
                <a:gd name="connsiteX19" fmla="*/ 945543 w 3334427"/>
                <a:gd name="connsiteY19" fmla="*/ 1764160 h 2817885"/>
                <a:gd name="connsiteX20" fmla="*/ 998285 w 3334427"/>
                <a:gd name="connsiteY20" fmla="*/ 1889497 h 2817885"/>
                <a:gd name="connsiteX21" fmla="*/ 1001786 w 3334427"/>
                <a:gd name="connsiteY21" fmla="*/ 1893741 h 2817885"/>
                <a:gd name="connsiteX22" fmla="*/ 931776 w 3334427"/>
                <a:gd name="connsiteY22" fmla="*/ 2003448 h 2817885"/>
                <a:gd name="connsiteX23" fmla="*/ 978553 w 3334427"/>
                <a:gd name="connsiteY23" fmla="*/ 2050224 h 2817885"/>
                <a:gd name="connsiteX24" fmla="*/ 1088206 w 3334427"/>
                <a:gd name="connsiteY24" fmla="*/ 1980250 h 2817885"/>
                <a:gd name="connsiteX25" fmla="*/ 1092962 w 3334427"/>
                <a:gd name="connsiteY25" fmla="*/ 1984175 h 2817885"/>
                <a:gd name="connsiteX26" fmla="*/ 1218299 w 3334427"/>
                <a:gd name="connsiteY26" fmla="*/ 2036917 h 2817885"/>
                <a:gd name="connsiteX27" fmla="*/ 1227403 w 3334427"/>
                <a:gd name="connsiteY27" fmla="*/ 2037834 h 2817885"/>
                <a:gd name="connsiteX28" fmla="*/ 1255542 w 3334427"/>
                <a:gd name="connsiteY28" fmla="*/ 2165224 h 2817885"/>
                <a:gd name="connsiteX29" fmla="*/ 1321693 w 3334427"/>
                <a:gd name="connsiteY29" fmla="*/ 2165224 h 2817885"/>
                <a:gd name="connsiteX30" fmla="*/ 1349819 w 3334427"/>
                <a:gd name="connsiteY30" fmla="*/ 2037901 h 2817885"/>
                <a:gd name="connsiteX31" fmla="*/ 1359583 w 3334427"/>
                <a:gd name="connsiteY31" fmla="*/ 2036917 h 2817885"/>
                <a:gd name="connsiteX32" fmla="*/ 1484920 w 3334427"/>
                <a:gd name="connsiteY32" fmla="*/ 1984175 h 2817885"/>
                <a:gd name="connsiteX33" fmla="*/ 1489163 w 3334427"/>
                <a:gd name="connsiteY33" fmla="*/ 1980674 h 2817885"/>
                <a:gd name="connsiteX34" fmla="*/ 1598871 w 3334427"/>
                <a:gd name="connsiteY34" fmla="*/ 2050683 h 2817885"/>
                <a:gd name="connsiteX35" fmla="*/ 1645646 w 3334427"/>
                <a:gd name="connsiteY35" fmla="*/ 2003907 h 2817885"/>
                <a:gd name="connsiteX36" fmla="*/ 1575673 w 3334427"/>
                <a:gd name="connsiteY36" fmla="*/ 1894254 h 2817885"/>
                <a:gd name="connsiteX37" fmla="*/ 1579598 w 3334427"/>
                <a:gd name="connsiteY37" fmla="*/ 1889497 h 2817885"/>
                <a:gd name="connsiteX38" fmla="*/ 1632340 w 3334427"/>
                <a:gd name="connsiteY38" fmla="*/ 1764160 h 2817885"/>
                <a:gd name="connsiteX39" fmla="*/ 1633258 w 3334427"/>
                <a:gd name="connsiteY39" fmla="*/ 1755058 h 2817885"/>
                <a:gd name="connsiteX40" fmla="*/ 1760648 w 3334427"/>
                <a:gd name="connsiteY40" fmla="*/ 1726917 h 2817885"/>
                <a:gd name="connsiteX41" fmla="*/ 1760649 w 3334427"/>
                <a:gd name="connsiteY41" fmla="*/ 1660766 h 2817885"/>
                <a:gd name="connsiteX42" fmla="*/ 1633324 w 3334427"/>
                <a:gd name="connsiteY42" fmla="*/ 1632641 h 2817885"/>
                <a:gd name="connsiteX43" fmla="*/ 1632340 w 3334427"/>
                <a:gd name="connsiteY43" fmla="*/ 1622876 h 2817885"/>
                <a:gd name="connsiteX44" fmla="*/ 1579598 w 3334427"/>
                <a:gd name="connsiteY44" fmla="*/ 1497539 h 2817885"/>
                <a:gd name="connsiteX45" fmla="*/ 1576097 w 3334427"/>
                <a:gd name="connsiteY45" fmla="*/ 1493295 h 2817885"/>
                <a:gd name="connsiteX46" fmla="*/ 1646105 w 3334427"/>
                <a:gd name="connsiteY46" fmla="*/ 1383589 h 2817885"/>
                <a:gd name="connsiteX47" fmla="*/ 1599329 w 3334427"/>
                <a:gd name="connsiteY47" fmla="*/ 1336813 h 2817885"/>
                <a:gd name="connsiteX48" fmla="*/ 1489677 w 3334427"/>
                <a:gd name="connsiteY48" fmla="*/ 1406786 h 2817885"/>
                <a:gd name="connsiteX49" fmla="*/ 1484920 w 3334427"/>
                <a:gd name="connsiteY49" fmla="*/ 1402861 h 2817885"/>
                <a:gd name="connsiteX50" fmla="*/ 1359583 w 3334427"/>
                <a:gd name="connsiteY50" fmla="*/ 1350119 h 2817885"/>
                <a:gd name="connsiteX51" fmla="*/ 1350481 w 3334427"/>
                <a:gd name="connsiteY51" fmla="*/ 1349202 h 2817885"/>
                <a:gd name="connsiteX52" fmla="*/ 1322342 w 3334427"/>
                <a:gd name="connsiteY52" fmla="*/ 1221811 h 2817885"/>
                <a:gd name="connsiteX53" fmla="*/ 2115711 w 3334427"/>
                <a:gd name="connsiteY53" fmla="*/ 1016035 h 2817885"/>
                <a:gd name="connsiteX54" fmla="*/ 2271224 w 3334427"/>
                <a:gd name="connsiteY54" fmla="*/ 1171548 h 2817885"/>
                <a:gd name="connsiteX55" fmla="*/ 2115711 w 3334427"/>
                <a:gd name="connsiteY55" fmla="*/ 1327061 h 2817885"/>
                <a:gd name="connsiteX56" fmla="*/ 1960198 w 3334427"/>
                <a:gd name="connsiteY56" fmla="*/ 1171548 h 2817885"/>
                <a:gd name="connsiteX57" fmla="*/ 2115711 w 3334427"/>
                <a:gd name="connsiteY57" fmla="*/ 1016035 h 2817885"/>
                <a:gd name="connsiteX58" fmla="*/ 2082960 w 3334427"/>
                <a:gd name="connsiteY58" fmla="*/ 699841 h 2817885"/>
                <a:gd name="connsiteX59" fmla="*/ 2054834 w 3334427"/>
                <a:gd name="connsiteY59" fmla="*/ 827165 h 2817885"/>
                <a:gd name="connsiteX60" fmla="*/ 2045069 w 3334427"/>
                <a:gd name="connsiteY60" fmla="*/ 828149 h 2817885"/>
                <a:gd name="connsiteX61" fmla="*/ 1919732 w 3334427"/>
                <a:gd name="connsiteY61" fmla="*/ 880891 h 2817885"/>
                <a:gd name="connsiteX62" fmla="*/ 1915488 w 3334427"/>
                <a:gd name="connsiteY62" fmla="*/ 884393 h 2817885"/>
                <a:gd name="connsiteX63" fmla="*/ 1805781 w 3334427"/>
                <a:gd name="connsiteY63" fmla="*/ 814384 h 2817885"/>
                <a:gd name="connsiteX64" fmla="*/ 1759005 w 3334427"/>
                <a:gd name="connsiteY64" fmla="*/ 861161 h 2817885"/>
                <a:gd name="connsiteX65" fmla="*/ 1828979 w 3334427"/>
                <a:gd name="connsiteY65" fmla="*/ 970813 h 2817885"/>
                <a:gd name="connsiteX66" fmla="*/ 1825055 w 3334427"/>
                <a:gd name="connsiteY66" fmla="*/ 975569 h 2817885"/>
                <a:gd name="connsiteX67" fmla="*/ 1772313 w 3334427"/>
                <a:gd name="connsiteY67" fmla="*/ 1100906 h 2817885"/>
                <a:gd name="connsiteX68" fmla="*/ 1771395 w 3334427"/>
                <a:gd name="connsiteY68" fmla="*/ 1110008 h 2817885"/>
                <a:gd name="connsiteX69" fmla="*/ 1644005 w 3334427"/>
                <a:gd name="connsiteY69" fmla="*/ 1138148 h 2817885"/>
                <a:gd name="connsiteX70" fmla="*/ 1644004 w 3334427"/>
                <a:gd name="connsiteY70" fmla="*/ 1204299 h 2817885"/>
                <a:gd name="connsiteX71" fmla="*/ 1771328 w 3334427"/>
                <a:gd name="connsiteY71" fmla="*/ 1232424 h 2817885"/>
                <a:gd name="connsiteX72" fmla="*/ 1772313 w 3334427"/>
                <a:gd name="connsiteY72" fmla="*/ 1242190 h 2817885"/>
                <a:gd name="connsiteX73" fmla="*/ 1825055 w 3334427"/>
                <a:gd name="connsiteY73" fmla="*/ 1367527 h 2817885"/>
                <a:gd name="connsiteX74" fmla="*/ 1828556 w 3334427"/>
                <a:gd name="connsiteY74" fmla="*/ 1371771 h 2817885"/>
                <a:gd name="connsiteX75" fmla="*/ 1758546 w 3334427"/>
                <a:gd name="connsiteY75" fmla="*/ 1481478 h 2817885"/>
                <a:gd name="connsiteX76" fmla="*/ 1805323 w 3334427"/>
                <a:gd name="connsiteY76" fmla="*/ 1528254 h 2817885"/>
                <a:gd name="connsiteX77" fmla="*/ 1914976 w 3334427"/>
                <a:gd name="connsiteY77" fmla="*/ 1458280 h 2817885"/>
                <a:gd name="connsiteX78" fmla="*/ 1919732 w 3334427"/>
                <a:gd name="connsiteY78" fmla="*/ 1462205 h 2817885"/>
                <a:gd name="connsiteX79" fmla="*/ 2045069 w 3334427"/>
                <a:gd name="connsiteY79" fmla="*/ 1514947 h 2817885"/>
                <a:gd name="connsiteX80" fmla="*/ 2054173 w 3334427"/>
                <a:gd name="connsiteY80" fmla="*/ 1515864 h 2817885"/>
                <a:gd name="connsiteX81" fmla="*/ 2082312 w 3334427"/>
                <a:gd name="connsiteY81" fmla="*/ 1643254 h 2817885"/>
                <a:gd name="connsiteX82" fmla="*/ 2148463 w 3334427"/>
                <a:gd name="connsiteY82" fmla="*/ 1643254 h 2817885"/>
                <a:gd name="connsiteX83" fmla="*/ 2176589 w 3334427"/>
                <a:gd name="connsiteY83" fmla="*/ 1515931 h 2817885"/>
                <a:gd name="connsiteX84" fmla="*/ 2186353 w 3334427"/>
                <a:gd name="connsiteY84" fmla="*/ 1514947 h 2817885"/>
                <a:gd name="connsiteX85" fmla="*/ 2311690 w 3334427"/>
                <a:gd name="connsiteY85" fmla="*/ 1462205 h 2817885"/>
                <a:gd name="connsiteX86" fmla="*/ 2315933 w 3334427"/>
                <a:gd name="connsiteY86" fmla="*/ 1458704 h 2817885"/>
                <a:gd name="connsiteX87" fmla="*/ 2425641 w 3334427"/>
                <a:gd name="connsiteY87" fmla="*/ 1528713 h 2817885"/>
                <a:gd name="connsiteX88" fmla="*/ 2472416 w 3334427"/>
                <a:gd name="connsiteY88" fmla="*/ 1481937 h 2817885"/>
                <a:gd name="connsiteX89" fmla="*/ 2402443 w 3334427"/>
                <a:gd name="connsiteY89" fmla="*/ 1372284 h 2817885"/>
                <a:gd name="connsiteX90" fmla="*/ 2406368 w 3334427"/>
                <a:gd name="connsiteY90" fmla="*/ 1367527 h 2817885"/>
                <a:gd name="connsiteX91" fmla="*/ 2459110 w 3334427"/>
                <a:gd name="connsiteY91" fmla="*/ 1242190 h 2817885"/>
                <a:gd name="connsiteX92" fmla="*/ 2460028 w 3334427"/>
                <a:gd name="connsiteY92" fmla="*/ 1233088 h 2817885"/>
                <a:gd name="connsiteX93" fmla="*/ 2587418 w 3334427"/>
                <a:gd name="connsiteY93" fmla="*/ 1204947 h 2817885"/>
                <a:gd name="connsiteX94" fmla="*/ 2587419 w 3334427"/>
                <a:gd name="connsiteY94" fmla="*/ 1138796 h 2817885"/>
                <a:gd name="connsiteX95" fmla="*/ 2460094 w 3334427"/>
                <a:gd name="connsiteY95" fmla="*/ 1110671 h 2817885"/>
                <a:gd name="connsiteX96" fmla="*/ 2459110 w 3334427"/>
                <a:gd name="connsiteY96" fmla="*/ 1100906 h 2817885"/>
                <a:gd name="connsiteX97" fmla="*/ 2406368 w 3334427"/>
                <a:gd name="connsiteY97" fmla="*/ 975569 h 2817885"/>
                <a:gd name="connsiteX98" fmla="*/ 2402867 w 3334427"/>
                <a:gd name="connsiteY98" fmla="*/ 971325 h 2817885"/>
                <a:gd name="connsiteX99" fmla="*/ 2472875 w 3334427"/>
                <a:gd name="connsiteY99" fmla="*/ 861619 h 2817885"/>
                <a:gd name="connsiteX100" fmla="*/ 2426099 w 3334427"/>
                <a:gd name="connsiteY100" fmla="*/ 814843 h 2817885"/>
                <a:gd name="connsiteX101" fmla="*/ 2316447 w 3334427"/>
                <a:gd name="connsiteY101" fmla="*/ 884816 h 2817885"/>
                <a:gd name="connsiteX102" fmla="*/ 2311690 w 3334427"/>
                <a:gd name="connsiteY102" fmla="*/ 880891 h 2817885"/>
                <a:gd name="connsiteX103" fmla="*/ 2186353 w 3334427"/>
                <a:gd name="connsiteY103" fmla="*/ 828149 h 2817885"/>
                <a:gd name="connsiteX104" fmla="*/ 2177251 w 3334427"/>
                <a:gd name="connsiteY104" fmla="*/ 827232 h 2817885"/>
                <a:gd name="connsiteX105" fmla="*/ 2149112 w 3334427"/>
                <a:gd name="connsiteY105" fmla="*/ 699841 h 2817885"/>
                <a:gd name="connsiteX106" fmla="*/ 2115077 w 3334427"/>
                <a:gd name="connsiteY106" fmla="*/ 0 h 2817885"/>
                <a:gd name="connsiteX107" fmla="*/ 2908548 w 3334427"/>
                <a:gd name="connsiteY107" fmla="*/ 793471 h 2817885"/>
                <a:gd name="connsiteX108" fmla="*/ 2872875 w 3334427"/>
                <a:gd name="connsiteY108" fmla="*/ 1029425 h 2817885"/>
                <a:gd name="connsiteX109" fmla="*/ 2865385 w 3334427"/>
                <a:gd name="connsiteY109" fmla="*/ 1048435 h 2817885"/>
                <a:gd name="connsiteX110" fmla="*/ 2969193 w 3334427"/>
                <a:gd name="connsiteY110" fmla="*/ 1080658 h 2817885"/>
                <a:gd name="connsiteX111" fmla="*/ 3334427 w 3334427"/>
                <a:gd name="connsiteY111" fmla="*/ 1631669 h 2817885"/>
                <a:gd name="connsiteX112" fmla="*/ 2736422 w 3334427"/>
                <a:gd name="connsiteY112" fmla="*/ 2229674 h 2817885"/>
                <a:gd name="connsiteX113" fmla="*/ 2586971 w 3334427"/>
                <a:gd name="connsiteY113" fmla="*/ 2210847 h 2817885"/>
                <a:gd name="connsiteX114" fmla="*/ 2539957 w 3334427"/>
                <a:gd name="connsiteY114" fmla="*/ 2195594 h 2817885"/>
                <a:gd name="connsiteX115" fmla="*/ 2540132 w 3334427"/>
                <a:gd name="connsiteY115" fmla="*/ 2196159 h 2817885"/>
                <a:gd name="connsiteX116" fmla="*/ 2547732 w 3334427"/>
                <a:gd name="connsiteY116" fmla="*/ 2271548 h 2817885"/>
                <a:gd name="connsiteX117" fmla="*/ 2173657 w 3334427"/>
                <a:gd name="connsiteY117" fmla="*/ 2645623 h 2817885"/>
                <a:gd name="connsiteX118" fmla="*/ 1863468 w 3334427"/>
                <a:gd name="connsiteY118" fmla="*/ 2480697 h 2817885"/>
                <a:gd name="connsiteX119" fmla="*/ 1857542 w 3334427"/>
                <a:gd name="connsiteY119" fmla="*/ 2469779 h 2817885"/>
                <a:gd name="connsiteX120" fmla="*/ 1809360 w 3334427"/>
                <a:gd name="connsiteY120" fmla="*/ 2558549 h 2817885"/>
                <a:gd name="connsiteX121" fmla="*/ 1321606 w 3334427"/>
                <a:gd name="connsiteY121" fmla="*/ 2817885 h 2817885"/>
                <a:gd name="connsiteX122" fmla="*/ 733395 w 3334427"/>
                <a:gd name="connsiteY122" fmla="*/ 2229674 h 2817885"/>
                <a:gd name="connsiteX123" fmla="*/ 736863 w 3334427"/>
                <a:gd name="connsiteY123" fmla="*/ 2195267 h 2817885"/>
                <a:gd name="connsiteX124" fmla="*/ 718524 w 3334427"/>
                <a:gd name="connsiteY124" fmla="*/ 2200960 h 2817885"/>
                <a:gd name="connsiteX125" fmla="*/ 598005 w 3334427"/>
                <a:gd name="connsiteY125" fmla="*/ 2213109 h 2817885"/>
                <a:gd name="connsiteX126" fmla="*/ 0 w 3334427"/>
                <a:gd name="connsiteY126" fmla="*/ 1615104 h 2817885"/>
                <a:gd name="connsiteX127" fmla="*/ 477486 w 3334427"/>
                <a:gd name="connsiteY127" fmla="*/ 1029248 h 2817885"/>
                <a:gd name="connsiteX128" fmla="*/ 483507 w 3334427"/>
                <a:gd name="connsiteY128" fmla="*/ 1028642 h 2817885"/>
                <a:gd name="connsiteX129" fmla="*/ 451215 w 3334427"/>
                <a:gd name="connsiteY129" fmla="*/ 959422 h 2817885"/>
                <a:gd name="connsiteX130" fmla="*/ 420758 w 3334427"/>
                <a:gd name="connsiteY130" fmla="*/ 786843 h 2817885"/>
                <a:gd name="connsiteX131" fmla="*/ 922684 w 3334427"/>
                <a:gd name="connsiteY131" fmla="*/ 284917 h 2817885"/>
                <a:gd name="connsiteX132" fmla="*/ 1351945 w 3334427"/>
                <a:gd name="connsiteY132" fmla="*/ 526576 h 2817885"/>
                <a:gd name="connsiteX133" fmla="*/ 1363631 w 3334427"/>
                <a:gd name="connsiteY133" fmla="*/ 550110 h 2817885"/>
                <a:gd name="connsiteX134" fmla="*/ 1383961 w 3334427"/>
                <a:gd name="connsiteY134" fmla="*/ 484616 h 2817885"/>
                <a:gd name="connsiteX135" fmla="*/ 2115077 w 3334427"/>
                <a:gd name="connsiteY135" fmla="*/ 0 h 281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334427" h="2817885">
                  <a:moveTo>
                    <a:pt x="1288941" y="1538005"/>
                  </a:moveTo>
                  <a:cubicBezTo>
                    <a:pt x="1374828" y="1538005"/>
                    <a:pt x="1444454" y="1607631"/>
                    <a:pt x="1444454" y="1693518"/>
                  </a:cubicBezTo>
                  <a:cubicBezTo>
                    <a:pt x="1444454" y="1779405"/>
                    <a:pt x="1374828" y="1849031"/>
                    <a:pt x="1288941" y="1849031"/>
                  </a:cubicBezTo>
                  <a:cubicBezTo>
                    <a:pt x="1203054" y="1849031"/>
                    <a:pt x="1133428" y="1779405"/>
                    <a:pt x="1133428" y="1693518"/>
                  </a:cubicBezTo>
                  <a:cubicBezTo>
                    <a:pt x="1133428" y="1607631"/>
                    <a:pt x="1203054" y="1538005"/>
                    <a:pt x="1288941" y="1538005"/>
                  </a:cubicBezTo>
                  <a:close/>
                  <a:moveTo>
                    <a:pt x="1256190" y="1221811"/>
                  </a:moveTo>
                  <a:lnTo>
                    <a:pt x="1228064" y="1349135"/>
                  </a:lnTo>
                  <a:lnTo>
                    <a:pt x="1218299" y="1350119"/>
                  </a:lnTo>
                  <a:cubicBezTo>
                    <a:pt x="1172663" y="1359458"/>
                    <a:pt x="1130258" y="1377665"/>
                    <a:pt x="1092962" y="1402861"/>
                  </a:cubicBezTo>
                  <a:lnTo>
                    <a:pt x="1088718" y="1406363"/>
                  </a:lnTo>
                  <a:lnTo>
                    <a:pt x="979011" y="1336354"/>
                  </a:lnTo>
                  <a:lnTo>
                    <a:pt x="932235" y="1383131"/>
                  </a:lnTo>
                  <a:lnTo>
                    <a:pt x="1002209" y="1492783"/>
                  </a:lnTo>
                  <a:lnTo>
                    <a:pt x="998285" y="1497539"/>
                  </a:lnTo>
                  <a:cubicBezTo>
                    <a:pt x="973088" y="1534835"/>
                    <a:pt x="954881" y="1577240"/>
                    <a:pt x="945543" y="1622876"/>
                  </a:cubicBezTo>
                  <a:lnTo>
                    <a:pt x="944625" y="1631978"/>
                  </a:lnTo>
                  <a:lnTo>
                    <a:pt x="817235" y="1660118"/>
                  </a:lnTo>
                  <a:lnTo>
                    <a:pt x="817234" y="1726269"/>
                  </a:lnTo>
                  <a:lnTo>
                    <a:pt x="944558" y="1754394"/>
                  </a:lnTo>
                  <a:lnTo>
                    <a:pt x="945543" y="1764160"/>
                  </a:lnTo>
                  <a:cubicBezTo>
                    <a:pt x="954881" y="1809796"/>
                    <a:pt x="973088" y="1852202"/>
                    <a:pt x="998285" y="1889497"/>
                  </a:cubicBezTo>
                  <a:lnTo>
                    <a:pt x="1001786" y="1893741"/>
                  </a:lnTo>
                  <a:lnTo>
                    <a:pt x="931776" y="2003448"/>
                  </a:lnTo>
                  <a:lnTo>
                    <a:pt x="978553" y="2050224"/>
                  </a:lnTo>
                  <a:lnTo>
                    <a:pt x="1088206" y="1980250"/>
                  </a:lnTo>
                  <a:lnTo>
                    <a:pt x="1092962" y="1984175"/>
                  </a:lnTo>
                  <a:cubicBezTo>
                    <a:pt x="1130258" y="2009371"/>
                    <a:pt x="1172663" y="2027578"/>
                    <a:pt x="1218299" y="2036917"/>
                  </a:cubicBezTo>
                  <a:lnTo>
                    <a:pt x="1227403" y="2037834"/>
                  </a:lnTo>
                  <a:lnTo>
                    <a:pt x="1255542" y="2165224"/>
                  </a:lnTo>
                  <a:lnTo>
                    <a:pt x="1321693" y="2165224"/>
                  </a:lnTo>
                  <a:lnTo>
                    <a:pt x="1349819" y="2037901"/>
                  </a:lnTo>
                  <a:lnTo>
                    <a:pt x="1359583" y="2036917"/>
                  </a:lnTo>
                  <a:cubicBezTo>
                    <a:pt x="1405219" y="2027578"/>
                    <a:pt x="1447625" y="2009371"/>
                    <a:pt x="1484920" y="1984175"/>
                  </a:cubicBezTo>
                  <a:lnTo>
                    <a:pt x="1489163" y="1980674"/>
                  </a:lnTo>
                  <a:lnTo>
                    <a:pt x="1598871" y="2050683"/>
                  </a:lnTo>
                  <a:lnTo>
                    <a:pt x="1645646" y="2003907"/>
                  </a:lnTo>
                  <a:lnTo>
                    <a:pt x="1575673" y="1894254"/>
                  </a:lnTo>
                  <a:lnTo>
                    <a:pt x="1579598" y="1889497"/>
                  </a:lnTo>
                  <a:cubicBezTo>
                    <a:pt x="1604794" y="1852202"/>
                    <a:pt x="1623001" y="1809796"/>
                    <a:pt x="1632340" y="1764160"/>
                  </a:cubicBezTo>
                  <a:lnTo>
                    <a:pt x="1633258" y="1755058"/>
                  </a:lnTo>
                  <a:lnTo>
                    <a:pt x="1760648" y="1726917"/>
                  </a:lnTo>
                  <a:lnTo>
                    <a:pt x="1760649" y="1660766"/>
                  </a:lnTo>
                  <a:lnTo>
                    <a:pt x="1633324" y="1632641"/>
                  </a:lnTo>
                  <a:lnTo>
                    <a:pt x="1632340" y="1622876"/>
                  </a:lnTo>
                  <a:cubicBezTo>
                    <a:pt x="1623001" y="1577240"/>
                    <a:pt x="1604794" y="1534835"/>
                    <a:pt x="1579598" y="1497539"/>
                  </a:cubicBezTo>
                  <a:lnTo>
                    <a:pt x="1576097" y="1493295"/>
                  </a:lnTo>
                  <a:lnTo>
                    <a:pt x="1646105" y="1383589"/>
                  </a:lnTo>
                  <a:lnTo>
                    <a:pt x="1599329" y="1336813"/>
                  </a:lnTo>
                  <a:lnTo>
                    <a:pt x="1489677" y="1406786"/>
                  </a:lnTo>
                  <a:lnTo>
                    <a:pt x="1484920" y="1402861"/>
                  </a:lnTo>
                  <a:cubicBezTo>
                    <a:pt x="1447625" y="1377665"/>
                    <a:pt x="1405219" y="1359458"/>
                    <a:pt x="1359583" y="1350119"/>
                  </a:cubicBezTo>
                  <a:lnTo>
                    <a:pt x="1350481" y="1349202"/>
                  </a:lnTo>
                  <a:lnTo>
                    <a:pt x="1322342" y="1221811"/>
                  </a:lnTo>
                  <a:close/>
                  <a:moveTo>
                    <a:pt x="2115711" y="1016035"/>
                  </a:moveTo>
                  <a:cubicBezTo>
                    <a:pt x="2201598" y="1016035"/>
                    <a:pt x="2271224" y="1085661"/>
                    <a:pt x="2271224" y="1171548"/>
                  </a:cubicBezTo>
                  <a:cubicBezTo>
                    <a:pt x="2271224" y="1257435"/>
                    <a:pt x="2201598" y="1327061"/>
                    <a:pt x="2115711" y="1327061"/>
                  </a:cubicBezTo>
                  <a:cubicBezTo>
                    <a:pt x="2029824" y="1327061"/>
                    <a:pt x="1960198" y="1257435"/>
                    <a:pt x="1960198" y="1171548"/>
                  </a:cubicBezTo>
                  <a:cubicBezTo>
                    <a:pt x="1960198" y="1085661"/>
                    <a:pt x="2029824" y="1016035"/>
                    <a:pt x="2115711" y="1016035"/>
                  </a:cubicBezTo>
                  <a:close/>
                  <a:moveTo>
                    <a:pt x="2082960" y="699841"/>
                  </a:moveTo>
                  <a:lnTo>
                    <a:pt x="2054834" y="827165"/>
                  </a:lnTo>
                  <a:lnTo>
                    <a:pt x="2045069" y="828149"/>
                  </a:lnTo>
                  <a:cubicBezTo>
                    <a:pt x="1999433" y="837488"/>
                    <a:pt x="1957028" y="855695"/>
                    <a:pt x="1919732" y="880891"/>
                  </a:cubicBezTo>
                  <a:lnTo>
                    <a:pt x="1915488" y="884393"/>
                  </a:lnTo>
                  <a:lnTo>
                    <a:pt x="1805781" y="814384"/>
                  </a:lnTo>
                  <a:lnTo>
                    <a:pt x="1759005" y="861161"/>
                  </a:lnTo>
                  <a:lnTo>
                    <a:pt x="1828979" y="970813"/>
                  </a:lnTo>
                  <a:lnTo>
                    <a:pt x="1825055" y="975569"/>
                  </a:lnTo>
                  <a:cubicBezTo>
                    <a:pt x="1799858" y="1012865"/>
                    <a:pt x="1781651" y="1055270"/>
                    <a:pt x="1772313" y="1100906"/>
                  </a:cubicBezTo>
                  <a:lnTo>
                    <a:pt x="1771395" y="1110008"/>
                  </a:lnTo>
                  <a:lnTo>
                    <a:pt x="1644005" y="1138148"/>
                  </a:lnTo>
                  <a:lnTo>
                    <a:pt x="1644004" y="1204299"/>
                  </a:lnTo>
                  <a:lnTo>
                    <a:pt x="1771328" y="1232424"/>
                  </a:lnTo>
                  <a:lnTo>
                    <a:pt x="1772313" y="1242190"/>
                  </a:lnTo>
                  <a:cubicBezTo>
                    <a:pt x="1781651" y="1287826"/>
                    <a:pt x="1799858" y="1330232"/>
                    <a:pt x="1825055" y="1367527"/>
                  </a:cubicBezTo>
                  <a:lnTo>
                    <a:pt x="1828556" y="1371771"/>
                  </a:lnTo>
                  <a:lnTo>
                    <a:pt x="1758546" y="1481478"/>
                  </a:lnTo>
                  <a:lnTo>
                    <a:pt x="1805323" y="1528254"/>
                  </a:lnTo>
                  <a:lnTo>
                    <a:pt x="1914976" y="1458280"/>
                  </a:lnTo>
                  <a:lnTo>
                    <a:pt x="1919732" y="1462205"/>
                  </a:lnTo>
                  <a:cubicBezTo>
                    <a:pt x="1957028" y="1487401"/>
                    <a:pt x="1999433" y="1505608"/>
                    <a:pt x="2045069" y="1514947"/>
                  </a:cubicBezTo>
                  <a:lnTo>
                    <a:pt x="2054173" y="1515864"/>
                  </a:lnTo>
                  <a:lnTo>
                    <a:pt x="2082312" y="1643254"/>
                  </a:lnTo>
                  <a:lnTo>
                    <a:pt x="2148463" y="1643254"/>
                  </a:lnTo>
                  <a:lnTo>
                    <a:pt x="2176589" y="1515931"/>
                  </a:lnTo>
                  <a:lnTo>
                    <a:pt x="2186353" y="1514947"/>
                  </a:lnTo>
                  <a:cubicBezTo>
                    <a:pt x="2231989" y="1505608"/>
                    <a:pt x="2274395" y="1487401"/>
                    <a:pt x="2311690" y="1462205"/>
                  </a:cubicBezTo>
                  <a:lnTo>
                    <a:pt x="2315933" y="1458704"/>
                  </a:lnTo>
                  <a:lnTo>
                    <a:pt x="2425641" y="1528713"/>
                  </a:lnTo>
                  <a:lnTo>
                    <a:pt x="2472416" y="1481937"/>
                  </a:lnTo>
                  <a:lnTo>
                    <a:pt x="2402443" y="1372284"/>
                  </a:lnTo>
                  <a:lnTo>
                    <a:pt x="2406368" y="1367527"/>
                  </a:lnTo>
                  <a:cubicBezTo>
                    <a:pt x="2431564" y="1330232"/>
                    <a:pt x="2449771" y="1287826"/>
                    <a:pt x="2459110" y="1242190"/>
                  </a:cubicBezTo>
                  <a:lnTo>
                    <a:pt x="2460028" y="1233088"/>
                  </a:lnTo>
                  <a:lnTo>
                    <a:pt x="2587418" y="1204947"/>
                  </a:lnTo>
                  <a:lnTo>
                    <a:pt x="2587419" y="1138796"/>
                  </a:lnTo>
                  <a:lnTo>
                    <a:pt x="2460094" y="1110671"/>
                  </a:lnTo>
                  <a:lnTo>
                    <a:pt x="2459110" y="1100906"/>
                  </a:lnTo>
                  <a:cubicBezTo>
                    <a:pt x="2449771" y="1055270"/>
                    <a:pt x="2431564" y="1012865"/>
                    <a:pt x="2406368" y="975569"/>
                  </a:cubicBezTo>
                  <a:lnTo>
                    <a:pt x="2402867" y="971325"/>
                  </a:lnTo>
                  <a:lnTo>
                    <a:pt x="2472875" y="861619"/>
                  </a:lnTo>
                  <a:lnTo>
                    <a:pt x="2426099" y="814843"/>
                  </a:lnTo>
                  <a:lnTo>
                    <a:pt x="2316447" y="884816"/>
                  </a:lnTo>
                  <a:lnTo>
                    <a:pt x="2311690" y="880891"/>
                  </a:lnTo>
                  <a:cubicBezTo>
                    <a:pt x="2274395" y="855695"/>
                    <a:pt x="2231989" y="837488"/>
                    <a:pt x="2186353" y="828149"/>
                  </a:cubicBezTo>
                  <a:lnTo>
                    <a:pt x="2177251" y="827232"/>
                  </a:lnTo>
                  <a:lnTo>
                    <a:pt x="2149112" y="699841"/>
                  </a:lnTo>
                  <a:close/>
                  <a:moveTo>
                    <a:pt x="2115077" y="0"/>
                  </a:moveTo>
                  <a:cubicBezTo>
                    <a:pt x="2553299" y="0"/>
                    <a:pt x="2908548" y="355249"/>
                    <a:pt x="2908548" y="793471"/>
                  </a:cubicBezTo>
                  <a:cubicBezTo>
                    <a:pt x="2908548" y="875638"/>
                    <a:pt x="2896059" y="954887"/>
                    <a:pt x="2872875" y="1029425"/>
                  </a:cubicBezTo>
                  <a:lnTo>
                    <a:pt x="2865385" y="1048435"/>
                  </a:lnTo>
                  <a:lnTo>
                    <a:pt x="2969193" y="1080658"/>
                  </a:lnTo>
                  <a:cubicBezTo>
                    <a:pt x="3183826" y="1171440"/>
                    <a:pt x="3334427" y="1383967"/>
                    <a:pt x="3334427" y="1631669"/>
                  </a:cubicBezTo>
                  <a:cubicBezTo>
                    <a:pt x="3334427" y="1961938"/>
                    <a:pt x="3066691" y="2229674"/>
                    <a:pt x="2736422" y="2229674"/>
                  </a:cubicBezTo>
                  <a:cubicBezTo>
                    <a:pt x="2684818" y="2229674"/>
                    <a:pt x="2634740" y="2223138"/>
                    <a:pt x="2586971" y="2210847"/>
                  </a:cubicBezTo>
                  <a:lnTo>
                    <a:pt x="2539957" y="2195594"/>
                  </a:lnTo>
                  <a:lnTo>
                    <a:pt x="2540132" y="2196159"/>
                  </a:lnTo>
                  <a:cubicBezTo>
                    <a:pt x="2545115" y="2220510"/>
                    <a:pt x="2547732" y="2245724"/>
                    <a:pt x="2547732" y="2271548"/>
                  </a:cubicBezTo>
                  <a:cubicBezTo>
                    <a:pt x="2547732" y="2478144"/>
                    <a:pt x="2380253" y="2645623"/>
                    <a:pt x="2173657" y="2645623"/>
                  </a:cubicBezTo>
                  <a:cubicBezTo>
                    <a:pt x="2044535" y="2645623"/>
                    <a:pt x="1930692" y="2580202"/>
                    <a:pt x="1863468" y="2480697"/>
                  </a:cubicBezTo>
                  <a:lnTo>
                    <a:pt x="1857542" y="2469779"/>
                  </a:lnTo>
                  <a:lnTo>
                    <a:pt x="1809360" y="2558549"/>
                  </a:lnTo>
                  <a:cubicBezTo>
                    <a:pt x="1703654" y="2715014"/>
                    <a:pt x="1524644" y="2817885"/>
                    <a:pt x="1321606" y="2817885"/>
                  </a:cubicBezTo>
                  <a:cubicBezTo>
                    <a:pt x="996746" y="2817885"/>
                    <a:pt x="733395" y="2554534"/>
                    <a:pt x="733395" y="2229674"/>
                  </a:cubicBezTo>
                  <a:lnTo>
                    <a:pt x="736863" y="2195267"/>
                  </a:lnTo>
                  <a:lnTo>
                    <a:pt x="718524" y="2200960"/>
                  </a:lnTo>
                  <a:cubicBezTo>
                    <a:pt x="679595" y="2208926"/>
                    <a:pt x="639289" y="2213109"/>
                    <a:pt x="598005" y="2213109"/>
                  </a:cubicBezTo>
                  <a:cubicBezTo>
                    <a:pt x="267736" y="2213109"/>
                    <a:pt x="0" y="1945373"/>
                    <a:pt x="0" y="1615104"/>
                  </a:cubicBezTo>
                  <a:cubicBezTo>
                    <a:pt x="0" y="1326119"/>
                    <a:pt x="204985" y="1085010"/>
                    <a:pt x="477486" y="1029248"/>
                  </a:cubicBezTo>
                  <a:lnTo>
                    <a:pt x="483507" y="1028642"/>
                  </a:lnTo>
                  <a:lnTo>
                    <a:pt x="451215" y="959422"/>
                  </a:lnTo>
                  <a:cubicBezTo>
                    <a:pt x="431511" y="905609"/>
                    <a:pt x="420758" y="847482"/>
                    <a:pt x="420758" y="786843"/>
                  </a:cubicBezTo>
                  <a:cubicBezTo>
                    <a:pt x="420758" y="509637"/>
                    <a:pt x="645478" y="284917"/>
                    <a:pt x="922684" y="284917"/>
                  </a:cubicBezTo>
                  <a:cubicBezTo>
                    <a:pt x="1104601" y="284917"/>
                    <a:pt x="1263913" y="381696"/>
                    <a:pt x="1351945" y="526576"/>
                  </a:cubicBezTo>
                  <a:lnTo>
                    <a:pt x="1363631" y="550110"/>
                  </a:lnTo>
                  <a:lnTo>
                    <a:pt x="1383961" y="484616"/>
                  </a:lnTo>
                  <a:cubicBezTo>
                    <a:pt x="1504417" y="199828"/>
                    <a:pt x="1786411" y="0"/>
                    <a:pt x="2115077"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88" name="Web Sites Icon"/>
            <p:cNvSpPr>
              <a:spLocks noChangeAspect="1"/>
            </p:cNvSpPr>
            <p:nvPr/>
          </p:nvSpPr>
          <p:spPr>
            <a:xfrm>
              <a:off x="5705174" y="2556447"/>
              <a:ext cx="785788" cy="785788"/>
            </a:xfrm>
            <a:custGeom>
              <a:avLst/>
              <a:gdLst/>
              <a:ahLst/>
              <a:cxnLst/>
              <a:rect l="l" t="t" r="r" b="b"/>
              <a:pathLst>
                <a:path w="2610712" h="2610712">
                  <a:moveTo>
                    <a:pt x="900132" y="1659508"/>
                  </a:moveTo>
                  <a:cubicBezTo>
                    <a:pt x="850489" y="1680441"/>
                    <a:pt x="795925" y="1691910"/>
                    <a:pt x="738682" y="1691910"/>
                  </a:cubicBezTo>
                  <a:cubicBezTo>
                    <a:pt x="704580" y="1691910"/>
                    <a:pt x="671429" y="1687840"/>
                    <a:pt x="639972" y="1678984"/>
                  </a:cubicBezTo>
                  <a:cubicBezTo>
                    <a:pt x="630802" y="1732731"/>
                    <a:pt x="626539" y="1787737"/>
                    <a:pt x="626539" y="1843600"/>
                  </a:cubicBezTo>
                  <a:cubicBezTo>
                    <a:pt x="626539" y="1980151"/>
                    <a:pt x="652007" y="2111581"/>
                    <a:pt x="702051" y="2233347"/>
                  </a:cubicBezTo>
                  <a:cubicBezTo>
                    <a:pt x="875300" y="2347094"/>
                    <a:pt x="1082651" y="2412830"/>
                    <a:pt x="1305356" y="2412830"/>
                  </a:cubicBezTo>
                  <a:cubicBezTo>
                    <a:pt x="1649176" y="2412830"/>
                    <a:pt x="1956402" y="2256154"/>
                    <a:pt x="2159509" y="2010283"/>
                  </a:cubicBezTo>
                  <a:cubicBezTo>
                    <a:pt x="2111204" y="2014741"/>
                    <a:pt x="2062255" y="2016547"/>
                    <a:pt x="2012815" y="2016547"/>
                  </a:cubicBezTo>
                  <a:cubicBezTo>
                    <a:pt x="1920488" y="2016547"/>
                    <a:pt x="1829870" y="2010248"/>
                    <a:pt x="1741816" y="1995896"/>
                  </a:cubicBezTo>
                  <a:cubicBezTo>
                    <a:pt x="1697066" y="2053279"/>
                    <a:pt x="1627112" y="2089547"/>
                    <a:pt x="1548687" y="2089547"/>
                  </a:cubicBezTo>
                  <a:cubicBezTo>
                    <a:pt x="1425687" y="2089547"/>
                    <a:pt x="1323524" y="2000335"/>
                    <a:pt x="1304035" y="1882972"/>
                  </a:cubicBezTo>
                  <a:cubicBezTo>
                    <a:pt x="1156203" y="1826416"/>
                    <a:pt x="1020119" y="1751039"/>
                    <a:pt x="900132" y="1659508"/>
                  </a:cubicBezTo>
                  <a:close/>
                  <a:moveTo>
                    <a:pt x="326784" y="787357"/>
                  </a:moveTo>
                  <a:cubicBezTo>
                    <a:pt x="244341" y="941756"/>
                    <a:pt x="197882" y="1118130"/>
                    <a:pt x="197882" y="1305356"/>
                  </a:cubicBezTo>
                  <a:cubicBezTo>
                    <a:pt x="197882" y="1524075"/>
                    <a:pt x="261286" y="1727986"/>
                    <a:pt x="371590" y="1899154"/>
                  </a:cubicBezTo>
                  <a:cubicBezTo>
                    <a:pt x="367754" y="1880810"/>
                    <a:pt x="367351" y="1862246"/>
                    <a:pt x="367351" y="1843600"/>
                  </a:cubicBezTo>
                  <a:cubicBezTo>
                    <a:pt x="367351" y="1734956"/>
                    <a:pt x="381029" y="1629062"/>
                    <a:pt x="407760" y="1527398"/>
                  </a:cubicBezTo>
                  <a:cubicBezTo>
                    <a:pt x="351809" y="1457631"/>
                    <a:pt x="319328" y="1368887"/>
                    <a:pt x="319328" y="1272556"/>
                  </a:cubicBezTo>
                  <a:cubicBezTo>
                    <a:pt x="319328" y="1180502"/>
                    <a:pt x="348989" y="1095376"/>
                    <a:pt x="400195" y="1026883"/>
                  </a:cubicBezTo>
                  <a:cubicBezTo>
                    <a:pt x="367473" y="950052"/>
                    <a:pt x="342803" y="869972"/>
                    <a:pt x="326784" y="787357"/>
                  </a:cubicBezTo>
                  <a:close/>
                  <a:moveTo>
                    <a:pt x="1358809" y="759796"/>
                  </a:moveTo>
                  <a:cubicBezTo>
                    <a:pt x="1239078" y="818380"/>
                    <a:pt x="1130049" y="891267"/>
                    <a:pt x="1035634" y="976541"/>
                  </a:cubicBezTo>
                  <a:cubicBezTo>
                    <a:pt x="1111291" y="1052347"/>
                    <a:pt x="1158036" y="1156993"/>
                    <a:pt x="1158036" y="1272556"/>
                  </a:cubicBezTo>
                  <a:cubicBezTo>
                    <a:pt x="1158036" y="1358206"/>
                    <a:pt x="1132359" y="1437859"/>
                    <a:pt x="1088022" y="1504063"/>
                  </a:cubicBezTo>
                  <a:cubicBezTo>
                    <a:pt x="1174051" y="1568324"/>
                    <a:pt x="1270034" y="1622103"/>
                    <a:pt x="1373719" y="1663750"/>
                  </a:cubicBezTo>
                  <a:cubicBezTo>
                    <a:pt x="1418598" y="1619175"/>
                    <a:pt x="1480435" y="1591705"/>
                    <a:pt x="1548687" y="1591705"/>
                  </a:cubicBezTo>
                  <a:cubicBezTo>
                    <a:pt x="1664038" y="1591705"/>
                    <a:pt x="1761064" y="1670167"/>
                    <a:pt x="1788338" y="1776889"/>
                  </a:cubicBezTo>
                  <a:cubicBezTo>
                    <a:pt x="1861345" y="1788370"/>
                    <a:pt x="1936390" y="1793457"/>
                    <a:pt x="2012815" y="1793457"/>
                  </a:cubicBezTo>
                  <a:cubicBezTo>
                    <a:pt x="2115398" y="1793457"/>
                    <a:pt x="2215494" y="1784292"/>
                    <a:pt x="2311784" y="1765530"/>
                  </a:cubicBezTo>
                  <a:cubicBezTo>
                    <a:pt x="2333378" y="1721025"/>
                    <a:pt x="2351048" y="1674444"/>
                    <a:pt x="2365177" y="1626375"/>
                  </a:cubicBezTo>
                  <a:lnTo>
                    <a:pt x="2202628" y="1494320"/>
                  </a:lnTo>
                  <a:cubicBezTo>
                    <a:pt x="2146093" y="1541780"/>
                    <a:pt x="2073019" y="1569480"/>
                    <a:pt x="1993476" y="1569480"/>
                  </a:cubicBezTo>
                  <a:cubicBezTo>
                    <a:pt x="1808307" y="1569480"/>
                    <a:pt x="1658197" y="1419370"/>
                    <a:pt x="1658197" y="1234201"/>
                  </a:cubicBezTo>
                  <a:cubicBezTo>
                    <a:pt x="1658197" y="1173835"/>
                    <a:pt x="1674151" y="1117195"/>
                    <a:pt x="1703372" y="1069009"/>
                  </a:cubicBezTo>
                  <a:cubicBezTo>
                    <a:pt x="1579585" y="960620"/>
                    <a:pt x="1465000" y="856910"/>
                    <a:pt x="1358809" y="759796"/>
                  </a:cubicBezTo>
                  <a:close/>
                  <a:moveTo>
                    <a:pt x="2077117" y="595048"/>
                  </a:moveTo>
                  <a:cubicBezTo>
                    <a:pt x="1893185" y="595048"/>
                    <a:pt x="1717247" y="624514"/>
                    <a:pt x="1555753" y="679536"/>
                  </a:cubicBezTo>
                  <a:cubicBezTo>
                    <a:pt x="1646868" y="763770"/>
                    <a:pt x="1742881" y="850965"/>
                    <a:pt x="1840379" y="937533"/>
                  </a:cubicBezTo>
                  <a:cubicBezTo>
                    <a:pt x="1885750" y="912375"/>
                    <a:pt x="1938042" y="898922"/>
                    <a:pt x="1993476" y="898922"/>
                  </a:cubicBezTo>
                  <a:cubicBezTo>
                    <a:pt x="2178645" y="898922"/>
                    <a:pt x="2328755" y="1049032"/>
                    <a:pt x="2328755" y="1234201"/>
                  </a:cubicBezTo>
                  <a:cubicBezTo>
                    <a:pt x="2328755" y="1272990"/>
                    <a:pt x="2322168" y="1310240"/>
                    <a:pt x="2308704" y="1344423"/>
                  </a:cubicBezTo>
                  <a:lnTo>
                    <a:pt x="2406112" y="1425145"/>
                  </a:lnTo>
                  <a:cubicBezTo>
                    <a:pt x="2410658" y="1385818"/>
                    <a:pt x="2412830" y="1345841"/>
                    <a:pt x="2412830" y="1305356"/>
                  </a:cubicBezTo>
                  <a:cubicBezTo>
                    <a:pt x="2412830" y="1036563"/>
                    <a:pt x="2317071" y="790135"/>
                    <a:pt x="2157688" y="598425"/>
                  </a:cubicBezTo>
                  <a:cubicBezTo>
                    <a:pt x="2131065" y="595686"/>
                    <a:pt x="2104177" y="595048"/>
                    <a:pt x="2077117" y="595048"/>
                  </a:cubicBezTo>
                  <a:close/>
                  <a:moveTo>
                    <a:pt x="850619" y="296309"/>
                  </a:moveTo>
                  <a:cubicBezTo>
                    <a:pt x="745920" y="342505"/>
                    <a:pt x="650219" y="405265"/>
                    <a:pt x="566952" y="481629"/>
                  </a:cubicBezTo>
                  <a:cubicBezTo>
                    <a:pt x="562856" y="502474"/>
                    <a:pt x="562237" y="523628"/>
                    <a:pt x="562237" y="544906"/>
                  </a:cubicBezTo>
                  <a:cubicBezTo>
                    <a:pt x="562237" y="658977"/>
                    <a:pt x="580010" y="769475"/>
                    <a:pt x="614749" y="873958"/>
                  </a:cubicBezTo>
                  <a:cubicBezTo>
                    <a:pt x="653488" y="859785"/>
                    <a:pt x="695317" y="853202"/>
                    <a:pt x="738682" y="853202"/>
                  </a:cubicBezTo>
                  <a:lnTo>
                    <a:pt x="809682" y="860360"/>
                  </a:lnTo>
                  <a:cubicBezTo>
                    <a:pt x="915604" y="755988"/>
                    <a:pt x="1040099" y="666686"/>
                    <a:pt x="1177617" y="593776"/>
                  </a:cubicBezTo>
                  <a:cubicBezTo>
                    <a:pt x="1055870" y="481736"/>
                    <a:pt x="947131" y="381614"/>
                    <a:pt x="850619" y="296309"/>
                  </a:cubicBezTo>
                  <a:close/>
                  <a:moveTo>
                    <a:pt x="1305356" y="197882"/>
                  </a:moveTo>
                  <a:cubicBezTo>
                    <a:pt x="1228261" y="197882"/>
                    <a:pt x="1153005" y="205760"/>
                    <a:pt x="1080369" y="220843"/>
                  </a:cubicBezTo>
                  <a:cubicBezTo>
                    <a:pt x="1155718" y="299808"/>
                    <a:pt x="1255185" y="397466"/>
                    <a:pt x="1368946" y="505293"/>
                  </a:cubicBezTo>
                  <a:cubicBezTo>
                    <a:pt x="1536969" y="438118"/>
                    <a:pt x="1719963" y="394608"/>
                    <a:pt x="1912410" y="379643"/>
                  </a:cubicBezTo>
                  <a:cubicBezTo>
                    <a:pt x="1738338" y="264549"/>
                    <a:pt x="1529632" y="197882"/>
                    <a:pt x="1305356" y="197882"/>
                  </a:cubicBezTo>
                  <a:close/>
                  <a:moveTo>
                    <a:pt x="1305356" y="0"/>
                  </a:moveTo>
                  <a:cubicBezTo>
                    <a:pt x="2026284" y="0"/>
                    <a:pt x="2610712" y="584428"/>
                    <a:pt x="2610712" y="1305356"/>
                  </a:cubicBezTo>
                  <a:cubicBezTo>
                    <a:pt x="2610712" y="2026284"/>
                    <a:pt x="2026284" y="2610712"/>
                    <a:pt x="1305356" y="2610712"/>
                  </a:cubicBezTo>
                  <a:cubicBezTo>
                    <a:pt x="584428" y="2610712"/>
                    <a:pt x="0" y="2026284"/>
                    <a:pt x="0" y="1305356"/>
                  </a:cubicBezTo>
                  <a:cubicBezTo>
                    <a:pt x="0" y="584428"/>
                    <a:pt x="584428" y="0"/>
                    <a:pt x="1305356"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sp>
        <p:nvSpPr>
          <p:cNvPr id="63" name="On Prem Divider"/>
          <p:cNvSpPr/>
          <p:nvPr/>
        </p:nvSpPr>
        <p:spPr>
          <a:xfrm>
            <a:off x="10730707" y="0"/>
            <a:ext cx="45719"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Azure Divider"/>
          <p:cNvSpPr/>
          <p:nvPr/>
        </p:nvSpPr>
        <p:spPr>
          <a:xfrm>
            <a:off x="1414256" y="0"/>
            <a:ext cx="45719"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7516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0" grpId="0" animBg="1"/>
      <p:bldP spid="59" grpId="0" animBg="1"/>
      <p:bldP spid="9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rom a Web Services Perspective….</a:t>
            </a:r>
            <a:endParaRPr lang="en-US" dirty="0"/>
          </a:p>
        </p:txBody>
      </p:sp>
      <p:sp>
        <p:nvSpPr>
          <p:cNvPr id="5" name="Rectangle 4"/>
          <p:cNvSpPr/>
          <p:nvPr/>
        </p:nvSpPr>
        <p:spPr>
          <a:xfrm>
            <a:off x="601405"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Virtual Machines</a:t>
            </a:r>
            <a:endParaRPr lang="en-US" sz="1600" dirty="0"/>
          </a:p>
        </p:txBody>
      </p:sp>
      <p:sp>
        <p:nvSpPr>
          <p:cNvPr id="26" name="Virtual Machine Icon"/>
          <p:cNvSpPr>
            <a:spLocks noChangeAspect="1"/>
          </p:cNvSpPr>
          <p:nvPr/>
        </p:nvSpPr>
        <p:spPr>
          <a:xfrm>
            <a:off x="1049260" y="1546086"/>
            <a:ext cx="813816" cy="756091"/>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3200"/>
          </a:p>
        </p:txBody>
      </p:sp>
      <p:sp>
        <p:nvSpPr>
          <p:cNvPr id="8" name="Rectangle 7"/>
          <p:cNvSpPr/>
          <p:nvPr/>
        </p:nvSpPr>
        <p:spPr>
          <a:xfrm>
            <a:off x="2457338"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Cloud Services</a:t>
            </a:r>
            <a:endParaRPr lang="en-US" sz="1600" dirty="0"/>
          </a:p>
        </p:txBody>
      </p:sp>
      <p:sp>
        <p:nvSpPr>
          <p:cNvPr id="24" name="Cloud Services Icon"/>
          <p:cNvSpPr>
            <a:spLocks noChangeAspect="1"/>
          </p:cNvSpPr>
          <p:nvPr/>
        </p:nvSpPr>
        <p:spPr>
          <a:xfrm>
            <a:off x="2905193" y="1580259"/>
            <a:ext cx="813816" cy="687744"/>
          </a:xfrm>
          <a:custGeom>
            <a:avLst/>
            <a:gdLst>
              <a:gd name="connsiteX0" fmla="*/ 1288941 w 3334427"/>
              <a:gd name="connsiteY0" fmla="*/ 1538005 h 2817885"/>
              <a:gd name="connsiteX1" fmla="*/ 1444454 w 3334427"/>
              <a:gd name="connsiteY1" fmla="*/ 1693518 h 2817885"/>
              <a:gd name="connsiteX2" fmla="*/ 1288941 w 3334427"/>
              <a:gd name="connsiteY2" fmla="*/ 1849031 h 2817885"/>
              <a:gd name="connsiteX3" fmla="*/ 1133428 w 3334427"/>
              <a:gd name="connsiteY3" fmla="*/ 1693518 h 2817885"/>
              <a:gd name="connsiteX4" fmla="*/ 1288941 w 3334427"/>
              <a:gd name="connsiteY4" fmla="*/ 1538005 h 2817885"/>
              <a:gd name="connsiteX5" fmla="*/ 1256190 w 3334427"/>
              <a:gd name="connsiteY5" fmla="*/ 1221811 h 2817885"/>
              <a:gd name="connsiteX6" fmla="*/ 1228064 w 3334427"/>
              <a:gd name="connsiteY6" fmla="*/ 1349135 h 2817885"/>
              <a:gd name="connsiteX7" fmla="*/ 1218299 w 3334427"/>
              <a:gd name="connsiteY7" fmla="*/ 1350119 h 2817885"/>
              <a:gd name="connsiteX8" fmla="*/ 1092962 w 3334427"/>
              <a:gd name="connsiteY8" fmla="*/ 1402861 h 2817885"/>
              <a:gd name="connsiteX9" fmla="*/ 1088718 w 3334427"/>
              <a:gd name="connsiteY9" fmla="*/ 1406363 h 2817885"/>
              <a:gd name="connsiteX10" fmla="*/ 979011 w 3334427"/>
              <a:gd name="connsiteY10" fmla="*/ 1336354 h 2817885"/>
              <a:gd name="connsiteX11" fmla="*/ 932235 w 3334427"/>
              <a:gd name="connsiteY11" fmla="*/ 1383131 h 2817885"/>
              <a:gd name="connsiteX12" fmla="*/ 1002209 w 3334427"/>
              <a:gd name="connsiteY12" fmla="*/ 1492783 h 2817885"/>
              <a:gd name="connsiteX13" fmla="*/ 998285 w 3334427"/>
              <a:gd name="connsiteY13" fmla="*/ 1497539 h 2817885"/>
              <a:gd name="connsiteX14" fmla="*/ 945543 w 3334427"/>
              <a:gd name="connsiteY14" fmla="*/ 1622876 h 2817885"/>
              <a:gd name="connsiteX15" fmla="*/ 944625 w 3334427"/>
              <a:gd name="connsiteY15" fmla="*/ 1631978 h 2817885"/>
              <a:gd name="connsiteX16" fmla="*/ 817235 w 3334427"/>
              <a:gd name="connsiteY16" fmla="*/ 1660118 h 2817885"/>
              <a:gd name="connsiteX17" fmla="*/ 817234 w 3334427"/>
              <a:gd name="connsiteY17" fmla="*/ 1726269 h 2817885"/>
              <a:gd name="connsiteX18" fmla="*/ 944558 w 3334427"/>
              <a:gd name="connsiteY18" fmla="*/ 1754394 h 2817885"/>
              <a:gd name="connsiteX19" fmla="*/ 945543 w 3334427"/>
              <a:gd name="connsiteY19" fmla="*/ 1764160 h 2817885"/>
              <a:gd name="connsiteX20" fmla="*/ 998285 w 3334427"/>
              <a:gd name="connsiteY20" fmla="*/ 1889497 h 2817885"/>
              <a:gd name="connsiteX21" fmla="*/ 1001786 w 3334427"/>
              <a:gd name="connsiteY21" fmla="*/ 1893741 h 2817885"/>
              <a:gd name="connsiteX22" fmla="*/ 931776 w 3334427"/>
              <a:gd name="connsiteY22" fmla="*/ 2003448 h 2817885"/>
              <a:gd name="connsiteX23" fmla="*/ 978553 w 3334427"/>
              <a:gd name="connsiteY23" fmla="*/ 2050224 h 2817885"/>
              <a:gd name="connsiteX24" fmla="*/ 1088206 w 3334427"/>
              <a:gd name="connsiteY24" fmla="*/ 1980250 h 2817885"/>
              <a:gd name="connsiteX25" fmla="*/ 1092962 w 3334427"/>
              <a:gd name="connsiteY25" fmla="*/ 1984175 h 2817885"/>
              <a:gd name="connsiteX26" fmla="*/ 1218299 w 3334427"/>
              <a:gd name="connsiteY26" fmla="*/ 2036917 h 2817885"/>
              <a:gd name="connsiteX27" fmla="*/ 1227403 w 3334427"/>
              <a:gd name="connsiteY27" fmla="*/ 2037834 h 2817885"/>
              <a:gd name="connsiteX28" fmla="*/ 1255542 w 3334427"/>
              <a:gd name="connsiteY28" fmla="*/ 2165224 h 2817885"/>
              <a:gd name="connsiteX29" fmla="*/ 1321693 w 3334427"/>
              <a:gd name="connsiteY29" fmla="*/ 2165224 h 2817885"/>
              <a:gd name="connsiteX30" fmla="*/ 1349819 w 3334427"/>
              <a:gd name="connsiteY30" fmla="*/ 2037901 h 2817885"/>
              <a:gd name="connsiteX31" fmla="*/ 1359583 w 3334427"/>
              <a:gd name="connsiteY31" fmla="*/ 2036917 h 2817885"/>
              <a:gd name="connsiteX32" fmla="*/ 1484920 w 3334427"/>
              <a:gd name="connsiteY32" fmla="*/ 1984175 h 2817885"/>
              <a:gd name="connsiteX33" fmla="*/ 1489163 w 3334427"/>
              <a:gd name="connsiteY33" fmla="*/ 1980674 h 2817885"/>
              <a:gd name="connsiteX34" fmla="*/ 1598871 w 3334427"/>
              <a:gd name="connsiteY34" fmla="*/ 2050683 h 2817885"/>
              <a:gd name="connsiteX35" fmla="*/ 1645646 w 3334427"/>
              <a:gd name="connsiteY35" fmla="*/ 2003907 h 2817885"/>
              <a:gd name="connsiteX36" fmla="*/ 1575673 w 3334427"/>
              <a:gd name="connsiteY36" fmla="*/ 1894254 h 2817885"/>
              <a:gd name="connsiteX37" fmla="*/ 1579598 w 3334427"/>
              <a:gd name="connsiteY37" fmla="*/ 1889497 h 2817885"/>
              <a:gd name="connsiteX38" fmla="*/ 1632340 w 3334427"/>
              <a:gd name="connsiteY38" fmla="*/ 1764160 h 2817885"/>
              <a:gd name="connsiteX39" fmla="*/ 1633258 w 3334427"/>
              <a:gd name="connsiteY39" fmla="*/ 1755058 h 2817885"/>
              <a:gd name="connsiteX40" fmla="*/ 1760648 w 3334427"/>
              <a:gd name="connsiteY40" fmla="*/ 1726917 h 2817885"/>
              <a:gd name="connsiteX41" fmla="*/ 1760649 w 3334427"/>
              <a:gd name="connsiteY41" fmla="*/ 1660766 h 2817885"/>
              <a:gd name="connsiteX42" fmla="*/ 1633324 w 3334427"/>
              <a:gd name="connsiteY42" fmla="*/ 1632641 h 2817885"/>
              <a:gd name="connsiteX43" fmla="*/ 1632340 w 3334427"/>
              <a:gd name="connsiteY43" fmla="*/ 1622876 h 2817885"/>
              <a:gd name="connsiteX44" fmla="*/ 1579598 w 3334427"/>
              <a:gd name="connsiteY44" fmla="*/ 1497539 h 2817885"/>
              <a:gd name="connsiteX45" fmla="*/ 1576097 w 3334427"/>
              <a:gd name="connsiteY45" fmla="*/ 1493295 h 2817885"/>
              <a:gd name="connsiteX46" fmla="*/ 1646105 w 3334427"/>
              <a:gd name="connsiteY46" fmla="*/ 1383589 h 2817885"/>
              <a:gd name="connsiteX47" fmla="*/ 1599329 w 3334427"/>
              <a:gd name="connsiteY47" fmla="*/ 1336813 h 2817885"/>
              <a:gd name="connsiteX48" fmla="*/ 1489677 w 3334427"/>
              <a:gd name="connsiteY48" fmla="*/ 1406786 h 2817885"/>
              <a:gd name="connsiteX49" fmla="*/ 1484920 w 3334427"/>
              <a:gd name="connsiteY49" fmla="*/ 1402861 h 2817885"/>
              <a:gd name="connsiteX50" fmla="*/ 1359583 w 3334427"/>
              <a:gd name="connsiteY50" fmla="*/ 1350119 h 2817885"/>
              <a:gd name="connsiteX51" fmla="*/ 1350481 w 3334427"/>
              <a:gd name="connsiteY51" fmla="*/ 1349202 h 2817885"/>
              <a:gd name="connsiteX52" fmla="*/ 1322342 w 3334427"/>
              <a:gd name="connsiteY52" fmla="*/ 1221811 h 2817885"/>
              <a:gd name="connsiteX53" fmla="*/ 2115711 w 3334427"/>
              <a:gd name="connsiteY53" fmla="*/ 1016035 h 2817885"/>
              <a:gd name="connsiteX54" fmla="*/ 2271224 w 3334427"/>
              <a:gd name="connsiteY54" fmla="*/ 1171548 h 2817885"/>
              <a:gd name="connsiteX55" fmla="*/ 2115711 w 3334427"/>
              <a:gd name="connsiteY55" fmla="*/ 1327061 h 2817885"/>
              <a:gd name="connsiteX56" fmla="*/ 1960198 w 3334427"/>
              <a:gd name="connsiteY56" fmla="*/ 1171548 h 2817885"/>
              <a:gd name="connsiteX57" fmla="*/ 2115711 w 3334427"/>
              <a:gd name="connsiteY57" fmla="*/ 1016035 h 2817885"/>
              <a:gd name="connsiteX58" fmla="*/ 2082960 w 3334427"/>
              <a:gd name="connsiteY58" fmla="*/ 699841 h 2817885"/>
              <a:gd name="connsiteX59" fmla="*/ 2054834 w 3334427"/>
              <a:gd name="connsiteY59" fmla="*/ 827165 h 2817885"/>
              <a:gd name="connsiteX60" fmla="*/ 2045069 w 3334427"/>
              <a:gd name="connsiteY60" fmla="*/ 828149 h 2817885"/>
              <a:gd name="connsiteX61" fmla="*/ 1919732 w 3334427"/>
              <a:gd name="connsiteY61" fmla="*/ 880891 h 2817885"/>
              <a:gd name="connsiteX62" fmla="*/ 1915488 w 3334427"/>
              <a:gd name="connsiteY62" fmla="*/ 884393 h 2817885"/>
              <a:gd name="connsiteX63" fmla="*/ 1805781 w 3334427"/>
              <a:gd name="connsiteY63" fmla="*/ 814384 h 2817885"/>
              <a:gd name="connsiteX64" fmla="*/ 1759005 w 3334427"/>
              <a:gd name="connsiteY64" fmla="*/ 861161 h 2817885"/>
              <a:gd name="connsiteX65" fmla="*/ 1828979 w 3334427"/>
              <a:gd name="connsiteY65" fmla="*/ 970813 h 2817885"/>
              <a:gd name="connsiteX66" fmla="*/ 1825055 w 3334427"/>
              <a:gd name="connsiteY66" fmla="*/ 975569 h 2817885"/>
              <a:gd name="connsiteX67" fmla="*/ 1772313 w 3334427"/>
              <a:gd name="connsiteY67" fmla="*/ 1100906 h 2817885"/>
              <a:gd name="connsiteX68" fmla="*/ 1771395 w 3334427"/>
              <a:gd name="connsiteY68" fmla="*/ 1110008 h 2817885"/>
              <a:gd name="connsiteX69" fmla="*/ 1644005 w 3334427"/>
              <a:gd name="connsiteY69" fmla="*/ 1138148 h 2817885"/>
              <a:gd name="connsiteX70" fmla="*/ 1644004 w 3334427"/>
              <a:gd name="connsiteY70" fmla="*/ 1204299 h 2817885"/>
              <a:gd name="connsiteX71" fmla="*/ 1771328 w 3334427"/>
              <a:gd name="connsiteY71" fmla="*/ 1232424 h 2817885"/>
              <a:gd name="connsiteX72" fmla="*/ 1772313 w 3334427"/>
              <a:gd name="connsiteY72" fmla="*/ 1242190 h 2817885"/>
              <a:gd name="connsiteX73" fmla="*/ 1825055 w 3334427"/>
              <a:gd name="connsiteY73" fmla="*/ 1367527 h 2817885"/>
              <a:gd name="connsiteX74" fmla="*/ 1828556 w 3334427"/>
              <a:gd name="connsiteY74" fmla="*/ 1371771 h 2817885"/>
              <a:gd name="connsiteX75" fmla="*/ 1758546 w 3334427"/>
              <a:gd name="connsiteY75" fmla="*/ 1481478 h 2817885"/>
              <a:gd name="connsiteX76" fmla="*/ 1805323 w 3334427"/>
              <a:gd name="connsiteY76" fmla="*/ 1528254 h 2817885"/>
              <a:gd name="connsiteX77" fmla="*/ 1914976 w 3334427"/>
              <a:gd name="connsiteY77" fmla="*/ 1458280 h 2817885"/>
              <a:gd name="connsiteX78" fmla="*/ 1919732 w 3334427"/>
              <a:gd name="connsiteY78" fmla="*/ 1462205 h 2817885"/>
              <a:gd name="connsiteX79" fmla="*/ 2045069 w 3334427"/>
              <a:gd name="connsiteY79" fmla="*/ 1514947 h 2817885"/>
              <a:gd name="connsiteX80" fmla="*/ 2054173 w 3334427"/>
              <a:gd name="connsiteY80" fmla="*/ 1515864 h 2817885"/>
              <a:gd name="connsiteX81" fmla="*/ 2082312 w 3334427"/>
              <a:gd name="connsiteY81" fmla="*/ 1643254 h 2817885"/>
              <a:gd name="connsiteX82" fmla="*/ 2148463 w 3334427"/>
              <a:gd name="connsiteY82" fmla="*/ 1643254 h 2817885"/>
              <a:gd name="connsiteX83" fmla="*/ 2176589 w 3334427"/>
              <a:gd name="connsiteY83" fmla="*/ 1515931 h 2817885"/>
              <a:gd name="connsiteX84" fmla="*/ 2186353 w 3334427"/>
              <a:gd name="connsiteY84" fmla="*/ 1514947 h 2817885"/>
              <a:gd name="connsiteX85" fmla="*/ 2311690 w 3334427"/>
              <a:gd name="connsiteY85" fmla="*/ 1462205 h 2817885"/>
              <a:gd name="connsiteX86" fmla="*/ 2315933 w 3334427"/>
              <a:gd name="connsiteY86" fmla="*/ 1458704 h 2817885"/>
              <a:gd name="connsiteX87" fmla="*/ 2425641 w 3334427"/>
              <a:gd name="connsiteY87" fmla="*/ 1528713 h 2817885"/>
              <a:gd name="connsiteX88" fmla="*/ 2472416 w 3334427"/>
              <a:gd name="connsiteY88" fmla="*/ 1481937 h 2817885"/>
              <a:gd name="connsiteX89" fmla="*/ 2402443 w 3334427"/>
              <a:gd name="connsiteY89" fmla="*/ 1372284 h 2817885"/>
              <a:gd name="connsiteX90" fmla="*/ 2406368 w 3334427"/>
              <a:gd name="connsiteY90" fmla="*/ 1367527 h 2817885"/>
              <a:gd name="connsiteX91" fmla="*/ 2459110 w 3334427"/>
              <a:gd name="connsiteY91" fmla="*/ 1242190 h 2817885"/>
              <a:gd name="connsiteX92" fmla="*/ 2460028 w 3334427"/>
              <a:gd name="connsiteY92" fmla="*/ 1233088 h 2817885"/>
              <a:gd name="connsiteX93" fmla="*/ 2587418 w 3334427"/>
              <a:gd name="connsiteY93" fmla="*/ 1204947 h 2817885"/>
              <a:gd name="connsiteX94" fmla="*/ 2587419 w 3334427"/>
              <a:gd name="connsiteY94" fmla="*/ 1138796 h 2817885"/>
              <a:gd name="connsiteX95" fmla="*/ 2460094 w 3334427"/>
              <a:gd name="connsiteY95" fmla="*/ 1110671 h 2817885"/>
              <a:gd name="connsiteX96" fmla="*/ 2459110 w 3334427"/>
              <a:gd name="connsiteY96" fmla="*/ 1100906 h 2817885"/>
              <a:gd name="connsiteX97" fmla="*/ 2406368 w 3334427"/>
              <a:gd name="connsiteY97" fmla="*/ 975569 h 2817885"/>
              <a:gd name="connsiteX98" fmla="*/ 2402867 w 3334427"/>
              <a:gd name="connsiteY98" fmla="*/ 971325 h 2817885"/>
              <a:gd name="connsiteX99" fmla="*/ 2472875 w 3334427"/>
              <a:gd name="connsiteY99" fmla="*/ 861619 h 2817885"/>
              <a:gd name="connsiteX100" fmla="*/ 2426099 w 3334427"/>
              <a:gd name="connsiteY100" fmla="*/ 814843 h 2817885"/>
              <a:gd name="connsiteX101" fmla="*/ 2316447 w 3334427"/>
              <a:gd name="connsiteY101" fmla="*/ 884816 h 2817885"/>
              <a:gd name="connsiteX102" fmla="*/ 2311690 w 3334427"/>
              <a:gd name="connsiteY102" fmla="*/ 880891 h 2817885"/>
              <a:gd name="connsiteX103" fmla="*/ 2186353 w 3334427"/>
              <a:gd name="connsiteY103" fmla="*/ 828149 h 2817885"/>
              <a:gd name="connsiteX104" fmla="*/ 2177251 w 3334427"/>
              <a:gd name="connsiteY104" fmla="*/ 827232 h 2817885"/>
              <a:gd name="connsiteX105" fmla="*/ 2149112 w 3334427"/>
              <a:gd name="connsiteY105" fmla="*/ 699841 h 2817885"/>
              <a:gd name="connsiteX106" fmla="*/ 2115077 w 3334427"/>
              <a:gd name="connsiteY106" fmla="*/ 0 h 2817885"/>
              <a:gd name="connsiteX107" fmla="*/ 2908548 w 3334427"/>
              <a:gd name="connsiteY107" fmla="*/ 793471 h 2817885"/>
              <a:gd name="connsiteX108" fmla="*/ 2872875 w 3334427"/>
              <a:gd name="connsiteY108" fmla="*/ 1029425 h 2817885"/>
              <a:gd name="connsiteX109" fmla="*/ 2865385 w 3334427"/>
              <a:gd name="connsiteY109" fmla="*/ 1048435 h 2817885"/>
              <a:gd name="connsiteX110" fmla="*/ 2969193 w 3334427"/>
              <a:gd name="connsiteY110" fmla="*/ 1080658 h 2817885"/>
              <a:gd name="connsiteX111" fmla="*/ 3334427 w 3334427"/>
              <a:gd name="connsiteY111" fmla="*/ 1631669 h 2817885"/>
              <a:gd name="connsiteX112" fmla="*/ 2736422 w 3334427"/>
              <a:gd name="connsiteY112" fmla="*/ 2229674 h 2817885"/>
              <a:gd name="connsiteX113" fmla="*/ 2586971 w 3334427"/>
              <a:gd name="connsiteY113" fmla="*/ 2210847 h 2817885"/>
              <a:gd name="connsiteX114" fmla="*/ 2539957 w 3334427"/>
              <a:gd name="connsiteY114" fmla="*/ 2195594 h 2817885"/>
              <a:gd name="connsiteX115" fmla="*/ 2540132 w 3334427"/>
              <a:gd name="connsiteY115" fmla="*/ 2196159 h 2817885"/>
              <a:gd name="connsiteX116" fmla="*/ 2547732 w 3334427"/>
              <a:gd name="connsiteY116" fmla="*/ 2271548 h 2817885"/>
              <a:gd name="connsiteX117" fmla="*/ 2173657 w 3334427"/>
              <a:gd name="connsiteY117" fmla="*/ 2645623 h 2817885"/>
              <a:gd name="connsiteX118" fmla="*/ 1863468 w 3334427"/>
              <a:gd name="connsiteY118" fmla="*/ 2480697 h 2817885"/>
              <a:gd name="connsiteX119" fmla="*/ 1857542 w 3334427"/>
              <a:gd name="connsiteY119" fmla="*/ 2469779 h 2817885"/>
              <a:gd name="connsiteX120" fmla="*/ 1809360 w 3334427"/>
              <a:gd name="connsiteY120" fmla="*/ 2558549 h 2817885"/>
              <a:gd name="connsiteX121" fmla="*/ 1321606 w 3334427"/>
              <a:gd name="connsiteY121" fmla="*/ 2817885 h 2817885"/>
              <a:gd name="connsiteX122" fmla="*/ 733395 w 3334427"/>
              <a:gd name="connsiteY122" fmla="*/ 2229674 h 2817885"/>
              <a:gd name="connsiteX123" fmla="*/ 736863 w 3334427"/>
              <a:gd name="connsiteY123" fmla="*/ 2195267 h 2817885"/>
              <a:gd name="connsiteX124" fmla="*/ 718524 w 3334427"/>
              <a:gd name="connsiteY124" fmla="*/ 2200960 h 2817885"/>
              <a:gd name="connsiteX125" fmla="*/ 598005 w 3334427"/>
              <a:gd name="connsiteY125" fmla="*/ 2213109 h 2817885"/>
              <a:gd name="connsiteX126" fmla="*/ 0 w 3334427"/>
              <a:gd name="connsiteY126" fmla="*/ 1615104 h 2817885"/>
              <a:gd name="connsiteX127" fmla="*/ 477486 w 3334427"/>
              <a:gd name="connsiteY127" fmla="*/ 1029248 h 2817885"/>
              <a:gd name="connsiteX128" fmla="*/ 483507 w 3334427"/>
              <a:gd name="connsiteY128" fmla="*/ 1028642 h 2817885"/>
              <a:gd name="connsiteX129" fmla="*/ 451215 w 3334427"/>
              <a:gd name="connsiteY129" fmla="*/ 959422 h 2817885"/>
              <a:gd name="connsiteX130" fmla="*/ 420758 w 3334427"/>
              <a:gd name="connsiteY130" fmla="*/ 786843 h 2817885"/>
              <a:gd name="connsiteX131" fmla="*/ 922684 w 3334427"/>
              <a:gd name="connsiteY131" fmla="*/ 284917 h 2817885"/>
              <a:gd name="connsiteX132" fmla="*/ 1351945 w 3334427"/>
              <a:gd name="connsiteY132" fmla="*/ 526576 h 2817885"/>
              <a:gd name="connsiteX133" fmla="*/ 1363631 w 3334427"/>
              <a:gd name="connsiteY133" fmla="*/ 550110 h 2817885"/>
              <a:gd name="connsiteX134" fmla="*/ 1383961 w 3334427"/>
              <a:gd name="connsiteY134" fmla="*/ 484616 h 2817885"/>
              <a:gd name="connsiteX135" fmla="*/ 2115077 w 3334427"/>
              <a:gd name="connsiteY135" fmla="*/ 0 h 281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334427" h="2817885">
                <a:moveTo>
                  <a:pt x="1288941" y="1538005"/>
                </a:moveTo>
                <a:cubicBezTo>
                  <a:pt x="1374828" y="1538005"/>
                  <a:pt x="1444454" y="1607631"/>
                  <a:pt x="1444454" y="1693518"/>
                </a:cubicBezTo>
                <a:cubicBezTo>
                  <a:pt x="1444454" y="1779405"/>
                  <a:pt x="1374828" y="1849031"/>
                  <a:pt x="1288941" y="1849031"/>
                </a:cubicBezTo>
                <a:cubicBezTo>
                  <a:pt x="1203054" y="1849031"/>
                  <a:pt x="1133428" y="1779405"/>
                  <a:pt x="1133428" y="1693518"/>
                </a:cubicBezTo>
                <a:cubicBezTo>
                  <a:pt x="1133428" y="1607631"/>
                  <a:pt x="1203054" y="1538005"/>
                  <a:pt x="1288941" y="1538005"/>
                </a:cubicBezTo>
                <a:close/>
                <a:moveTo>
                  <a:pt x="1256190" y="1221811"/>
                </a:moveTo>
                <a:lnTo>
                  <a:pt x="1228064" y="1349135"/>
                </a:lnTo>
                <a:lnTo>
                  <a:pt x="1218299" y="1350119"/>
                </a:lnTo>
                <a:cubicBezTo>
                  <a:pt x="1172663" y="1359458"/>
                  <a:pt x="1130258" y="1377665"/>
                  <a:pt x="1092962" y="1402861"/>
                </a:cubicBezTo>
                <a:lnTo>
                  <a:pt x="1088718" y="1406363"/>
                </a:lnTo>
                <a:lnTo>
                  <a:pt x="979011" y="1336354"/>
                </a:lnTo>
                <a:lnTo>
                  <a:pt x="932235" y="1383131"/>
                </a:lnTo>
                <a:lnTo>
                  <a:pt x="1002209" y="1492783"/>
                </a:lnTo>
                <a:lnTo>
                  <a:pt x="998285" y="1497539"/>
                </a:lnTo>
                <a:cubicBezTo>
                  <a:pt x="973088" y="1534835"/>
                  <a:pt x="954881" y="1577240"/>
                  <a:pt x="945543" y="1622876"/>
                </a:cubicBezTo>
                <a:lnTo>
                  <a:pt x="944625" y="1631978"/>
                </a:lnTo>
                <a:lnTo>
                  <a:pt x="817235" y="1660118"/>
                </a:lnTo>
                <a:lnTo>
                  <a:pt x="817234" y="1726269"/>
                </a:lnTo>
                <a:lnTo>
                  <a:pt x="944558" y="1754394"/>
                </a:lnTo>
                <a:lnTo>
                  <a:pt x="945543" y="1764160"/>
                </a:lnTo>
                <a:cubicBezTo>
                  <a:pt x="954881" y="1809796"/>
                  <a:pt x="973088" y="1852202"/>
                  <a:pt x="998285" y="1889497"/>
                </a:cubicBezTo>
                <a:lnTo>
                  <a:pt x="1001786" y="1893741"/>
                </a:lnTo>
                <a:lnTo>
                  <a:pt x="931776" y="2003448"/>
                </a:lnTo>
                <a:lnTo>
                  <a:pt x="978553" y="2050224"/>
                </a:lnTo>
                <a:lnTo>
                  <a:pt x="1088206" y="1980250"/>
                </a:lnTo>
                <a:lnTo>
                  <a:pt x="1092962" y="1984175"/>
                </a:lnTo>
                <a:cubicBezTo>
                  <a:pt x="1130258" y="2009371"/>
                  <a:pt x="1172663" y="2027578"/>
                  <a:pt x="1218299" y="2036917"/>
                </a:cubicBezTo>
                <a:lnTo>
                  <a:pt x="1227403" y="2037834"/>
                </a:lnTo>
                <a:lnTo>
                  <a:pt x="1255542" y="2165224"/>
                </a:lnTo>
                <a:lnTo>
                  <a:pt x="1321693" y="2165224"/>
                </a:lnTo>
                <a:lnTo>
                  <a:pt x="1349819" y="2037901"/>
                </a:lnTo>
                <a:lnTo>
                  <a:pt x="1359583" y="2036917"/>
                </a:lnTo>
                <a:cubicBezTo>
                  <a:pt x="1405219" y="2027578"/>
                  <a:pt x="1447625" y="2009371"/>
                  <a:pt x="1484920" y="1984175"/>
                </a:cubicBezTo>
                <a:lnTo>
                  <a:pt x="1489163" y="1980674"/>
                </a:lnTo>
                <a:lnTo>
                  <a:pt x="1598871" y="2050683"/>
                </a:lnTo>
                <a:lnTo>
                  <a:pt x="1645646" y="2003907"/>
                </a:lnTo>
                <a:lnTo>
                  <a:pt x="1575673" y="1894254"/>
                </a:lnTo>
                <a:lnTo>
                  <a:pt x="1579598" y="1889497"/>
                </a:lnTo>
                <a:cubicBezTo>
                  <a:pt x="1604794" y="1852202"/>
                  <a:pt x="1623001" y="1809796"/>
                  <a:pt x="1632340" y="1764160"/>
                </a:cubicBezTo>
                <a:lnTo>
                  <a:pt x="1633258" y="1755058"/>
                </a:lnTo>
                <a:lnTo>
                  <a:pt x="1760648" y="1726917"/>
                </a:lnTo>
                <a:lnTo>
                  <a:pt x="1760649" y="1660766"/>
                </a:lnTo>
                <a:lnTo>
                  <a:pt x="1633324" y="1632641"/>
                </a:lnTo>
                <a:lnTo>
                  <a:pt x="1632340" y="1622876"/>
                </a:lnTo>
                <a:cubicBezTo>
                  <a:pt x="1623001" y="1577240"/>
                  <a:pt x="1604794" y="1534835"/>
                  <a:pt x="1579598" y="1497539"/>
                </a:cubicBezTo>
                <a:lnTo>
                  <a:pt x="1576097" y="1493295"/>
                </a:lnTo>
                <a:lnTo>
                  <a:pt x="1646105" y="1383589"/>
                </a:lnTo>
                <a:lnTo>
                  <a:pt x="1599329" y="1336813"/>
                </a:lnTo>
                <a:lnTo>
                  <a:pt x="1489677" y="1406786"/>
                </a:lnTo>
                <a:lnTo>
                  <a:pt x="1484920" y="1402861"/>
                </a:lnTo>
                <a:cubicBezTo>
                  <a:pt x="1447625" y="1377665"/>
                  <a:pt x="1405219" y="1359458"/>
                  <a:pt x="1359583" y="1350119"/>
                </a:cubicBezTo>
                <a:lnTo>
                  <a:pt x="1350481" y="1349202"/>
                </a:lnTo>
                <a:lnTo>
                  <a:pt x="1322342" y="1221811"/>
                </a:lnTo>
                <a:close/>
                <a:moveTo>
                  <a:pt x="2115711" y="1016035"/>
                </a:moveTo>
                <a:cubicBezTo>
                  <a:pt x="2201598" y="1016035"/>
                  <a:pt x="2271224" y="1085661"/>
                  <a:pt x="2271224" y="1171548"/>
                </a:cubicBezTo>
                <a:cubicBezTo>
                  <a:pt x="2271224" y="1257435"/>
                  <a:pt x="2201598" y="1327061"/>
                  <a:pt x="2115711" y="1327061"/>
                </a:cubicBezTo>
                <a:cubicBezTo>
                  <a:pt x="2029824" y="1327061"/>
                  <a:pt x="1960198" y="1257435"/>
                  <a:pt x="1960198" y="1171548"/>
                </a:cubicBezTo>
                <a:cubicBezTo>
                  <a:pt x="1960198" y="1085661"/>
                  <a:pt x="2029824" y="1016035"/>
                  <a:pt x="2115711" y="1016035"/>
                </a:cubicBezTo>
                <a:close/>
                <a:moveTo>
                  <a:pt x="2082960" y="699841"/>
                </a:moveTo>
                <a:lnTo>
                  <a:pt x="2054834" y="827165"/>
                </a:lnTo>
                <a:lnTo>
                  <a:pt x="2045069" y="828149"/>
                </a:lnTo>
                <a:cubicBezTo>
                  <a:pt x="1999433" y="837488"/>
                  <a:pt x="1957028" y="855695"/>
                  <a:pt x="1919732" y="880891"/>
                </a:cubicBezTo>
                <a:lnTo>
                  <a:pt x="1915488" y="884393"/>
                </a:lnTo>
                <a:lnTo>
                  <a:pt x="1805781" y="814384"/>
                </a:lnTo>
                <a:lnTo>
                  <a:pt x="1759005" y="861161"/>
                </a:lnTo>
                <a:lnTo>
                  <a:pt x="1828979" y="970813"/>
                </a:lnTo>
                <a:lnTo>
                  <a:pt x="1825055" y="975569"/>
                </a:lnTo>
                <a:cubicBezTo>
                  <a:pt x="1799858" y="1012865"/>
                  <a:pt x="1781651" y="1055270"/>
                  <a:pt x="1772313" y="1100906"/>
                </a:cubicBezTo>
                <a:lnTo>
                  <a:pt x="1771395" y="1110008"/>
                </a:lnTo>
                <a:lnTo>
                  <a:pt x="1644005" y="1138148"/>
                </a:lnTo>
                <a:lnTo>
                  <a:pt x="1644004" y="1204299"/>
                </a:lnTo>
                <a:lnTo>
                  <a:pt x="1771328" y="1232424"/>
                </a:lnTo>
                <a:lnTo>
                  <a:pt x="1772313" y="1242190"/>
                </a:lnTo>
                <a:cubicBezTo>
                  <a:pt x="1781651" y="1287826"/>
                  <a:pt x="1799858" y="1330232"/>
                  <a:pt x="1825055" y="1367527"/>
                </a:cubicBezTo>
                <a:lnTo>
                  <a:pt x="1828556" y="1371771"/>
                </a:lnTo>
                <a:lnTo>
                  <a:pt x="1758546" y="1481478"/>
                </a:lnTo>
                <a:lnTo>
                  <a:pt x="1805323" y="1528254"/>
                </a:lnTo>
                <a:lnTo>
                  <a:pt x="1914976" y="1458280"/>
                </a:lnTo>
                <a:lnTo>
                  <a:pt x="1919732" y="1462205"/>
                </a:lnTo>
                <a:cubicBezTo>
                  <a:pt x="1957028" y="1487401"/>
                  <a:pt x="1999433" y="1505608"/>
                  <a:pt x="2045069" y="1514947"/>
                </a:cubicBezTo>
                <a:lnTo>
                  <a:pt x="2054173" y="1515864"/>
                </a:lnTo>
                <a:lnTo>
                  <a:pt x="2082312" y="1643254"/>
                </a:lnTo>
                <a:lnTo>
                  <a:pt x="2148463" y="1643254"/>
                </a:lnTo>
                <a:lnTo>
                  <a:pt x="2176589" y="1515931"/>
                </a:lnTo>
                <a:lnTo>
                  <a:pt x="2186353" y="1514947"/>
                </a:lnTo>
                <a:cubicBezTo>
                  <a:pt x="2231989" y="1505608"/>
                  <a:pt x="2274395" y="1487401"/>
                  <a:pt x="2311690" y="1462205"/>
                </a:cubicBezTo>
                <a:lnTo>
                  <a:pt x="2315933" y="1458704"/>
                </a:lnTo>
                <a:lnTo>
                  <a:pt x="2425641" y="1528713"/>
                </a:lnTo>
                <a:lnTo>
                  <a:pt x="2472416" y="1481937"/>
                </a:lnTo>
                <a:lnTo>
                  <a:pt x="2402443" y="1372284"/>
                </a:lnTo>
                <a:lnTo>
                  <a:pt x="2406368" y="1367527"/>
                </a:lnTo>
                <a:cubicBezTo>
                  <a:pt x="2431564" y="1330232"/>
                  <a:pt x="2449771" y="1287826"/>
                  <a:pt x="2459110" y="1242190"/>
                </a:cubicBezTo>
                <a:lnTo>
                  <a:pt x="2460028" y="1233088"/>
                </a:lnTo>
                <a:lnTo>
                  <a:pt x="2587418" y="1204947"/>
                </a:lnTo>
                <a:lnTo>
                  <a:pt x="2587419" y="1138796"/>
                </a:lnTo>
                <a:lnTo>
                  <a:pt x="2460094" y="1110671"/>
                </a:lnTo>
                <a:lnTo>
                  <a:pt x="2459110" y="1100906"/>
                </a:lnTo>
                <a:cubicBezTo>
                  <a:pt x="2449771" y="1055270"/>
                  <a:pt x="2431564" y="1012865"/>
                  <a:pt x="2406368" y="975569"/>
                </a:cubicBezTo>
                <a:lnTo>
                  <a:pt x="2402867" y="971325"/>
                </a:lnTo>
                <a:lnTo>
                  <a:pt x="2472875" y="861619"/>
                </a:lnTo>
                <a:lnTo>
                  <a:pt x="2426099" y="814843"/>
                </a:lnTo>
                <a:lnTo>
                  <a:pt x="2316447" y="884816"/>
                </a:lnTo>
                <a:lnTo>
                  <a:pt x="2311690" y="880891"/>
                </a:lnTo>
                <a:cubicBezTo>
                  <a:pt x="2274395" y="855695"/>
                  <a:pt x="2231989" y="837488"/>
                  <a:pt x="2186353" y="828149"/>
                </a:cubicBezTo>
                <a:lnTo>
                  <a:pt x="2177251" y="827232"/>
                </a:lnTo>
                <a:lnTo>
                  <a:pt x="2149112" y="699841"/>
                </a:lnTo>
                <a:close/>
                <a:moveTo>
                  <a:pt x="2115077" y="0"/>
                </a:moveTo>
                <a:cubicBezTo>
                  <a:pt x="2553299" y="0"/>
                  <a:pt x="2908548" y="355249"/>
                  <a:pt x="2908548" y="793471"/>
                </a:cubicBezTo>
                <a:cubicBezTo>
                  <a:pt x="2908548" y="875638"/>
                  <a:pt x="2896059" y="954887"/>
                  <a:pt x="2872875" y="1029425"/>
                </a:cubicBezTo>
                <a:lnTo>
                  <a:pt x="2865385" y="1048435"/>
                </a:lnTo>
                <a:lnTo>
                  <a:pt x="2969193" y="1080658"/>
                </a:lnTo>
                <a:cubicBezTo>
                  <a:pt x="3183826" y="1171440"/>
                  <a:pt x="3334427" y="1383967"/>
                  <a:pt x="3334427" y="1631669"/>
                </a:cubicBezTo>
                <a:cubicBezTo>
                  <a:pt x="3334427" y="1961938"/>
                  <a:pt x="3066691" y="2229674"/>
                  <a:pt x="2736422" y="2229674"/>
                </a:cubicBezTo>
                <a:cubicBezTo>
                  <a:pt x="2684818" y="2229674"/>
                  <a:pt x="2634740" y="2223138"/>
                  <a:pt x="2586971" y="2210847"/>
                </a:cubicBezTo>
                <a:lnTo>
                  <a:pt x="2539957" y="2195594"/>
                </a:lnTo>
                <a:lnTo>
                  <a:pt x="2540132" y="2196159"/>
                </a:lnTo>
                <a:cubicBezTo>
                  <a:pt x="2545115" y="2220510"/>
                  <a:pt x="2547732" y="2245724"/>
                  <a:pt x="2547732" y="2271548"/>
                </a:cubicBezTo>
                <a:cubicBezTo>
                  <a:pt x="2547732" y="2478144"/>
                  <a:pt x="2380253" y="2645623"/>
                  <a:pt x="2173657" y="2645623"/>
                </a:cubicBezTo>
                <a:cubicBezTo>
                  <a:pt x="2044535" y="2645623"/>
                  <a:pt x="1930692" y="2580202"/>
                  <a:pt x="1863468" y="2480697"/>
                </a:cubicBezTo>
                <a:lnTo>
                  <a:pt x="1857542" y="2469779"/>
                </a:lnTo>
                <a:lnTo>
                  <a:pt x="1809360" y="2558549"/>
                </a:lnTo>
                <a:cubicBezTo>
                  <a:pt x="1703654" y="2715014"/>
                  <a:pt x="1524644" y="2817885"/>
                  <a:pt x="1321606" y="2817885"/>
                </a:cubicBezTo>
                <a:cubicBezTo>
                  <a:pt x="996746" y="2817885"/>
                  <a:pt x="733395" y="2554534"/>
                  <a:pt x="733395" y="2229674"/>
                </a:cubicBezTo>
                <a:lnTo>
                  <a:pt x="736863" y="2195267"/>
                </a:lnTo>
                <a:lnTo>
                  <a:pt x="718524" y="2200960"/>
                </a:lnTo>
                <a:cubicBezTo>
                  <a:pt x="679595" y="2208926"/>
                  <a:pt x="639289" y="2213109"/>
                  <a:pt x="598005" y="2213109"/>
                </a:cubicBezTo>
                <a:cubicBezTo>
                  <a:pt x="267736" y="2213109"/>
                  <a:pt x="0" y="1945373"/>
                  <a:pt x="0" y="1615104"/>
                </a:cubicBezTo>
                <a:cubicBezTo>
                  <a:pt x="0" y="1326119"/>
                  <a:pt x="204985" y="1085010"/>
                  <a:pt x="477486" y="1029248"/>
                </a:cubicBezTo>
                <a:lnTo>
                  <a:pt x="483507" y="1028642"/>
                </a:lnTo>
                <a:lnTo>
                  <a:pt x="451215" y="959422"/>
                </a:lnTo>
                <a:cubicBezTo>
                  <a:pt x="431511" y="905609"/>
                  <a:pt x="420758" y="847482"/>
                  <a:pt x="420758" y="786843"/>
                </a:cubicBezTo>
                <a:cubicBezTo>
                  <a:pt x="420758" y="509637"/>
                  <a:pt x="645478" y="284917"/>
                  <a:pt x="922684" y="284917"/>
                </a:cubicBezTo>
                <a:cubicBezTo>
                  <a:pt x="1104601" y="284917"/>
                  <a:pt x="1263913" y="381696"/>
                  <a:pt x="1351945" y="526576"/>
                </a:cubicBezTo>
                <a:lnTo>
                  <a:pt x="1363631" y="550110"/>
                </a:lnTo>
                <a:lnTo>
                  <a:pt x="1383961" y="484616"/>
                </a:lnTo>
                <a:cubicBezTo>
                  <a:pt x="1504417" y="199828"/>
                  <a:pt x="1786411" y="0"/>
                  <a:pt x="21150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1" name="Rectangle 10"/>
          <p:cNvSpPr/>
          <p:nvPr/>
        </p:nvSpPr>
        <p:spPr>
          <a:xfrm>
            <a:off x="4313271"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Web Sites</a:t>
            </a:r>
            <a:endParaRPr lang="en-US" sz="1600" dirty="0"/>
          </a:p>
        </p:txBody>
      </p:sp>
      <p:sp>
        <p:nvSpPr>
          <p:cNvPr id="12" name="Web Sites Icon"/>
          <p:cNvSpPr>
            <a:spLocks noChangeAspect="1"/>
          </p:cNvSpPr>
          <p:nvPr/>
        </p:nvSpPr>
        <p:spPr>
          <a:xfrm>
            <a:off x="4761485" y="1517581"/>
            <a:ext cx="813101" cy="813101"/>
          </a:xfrm>
          <a:custGeom>
            <a:avLst/>
            <a:gdLst/>
            <a:ahLst/>
            <a:cxnLst/>
            <a:rect l="l" t="t" r="r" b="b"/>
            <a:pathLst>
              <a:path w="2610712" h="2610712">
                <a:moveTo>
                  <a:pt x="900132" y="1659508"/>
                </a:moveTo>
                <a:cubicBezTo>
                  <a:pt x="850489" y="1680441"/>
                  <a:pt x="795925" y="1691910"/>
                  <a:pt x="738682" y="1691910"/>
                </a:cubicBezTo>
                <a:cubicBezTo>
                  <a:pt x="704580" y="1691910"/>
                  <a:pt x="671429" y="1687840"/>
                  <a:pt x="639972" y="1678984"/>
                </a:cubicBezTo>
                <a:cubicBezTo>
                  <a:pt x="630802" y="1732731"/>
                  <a:pt x="626539" y="1787737"/>
                  <a:pt x="626539" y="1843600"/>
                </a:cubicBezTo>
                <a:cubicBezTo>
                  <a:pt x="626539" y="1980151"/>
                  <a:pt x="652007" y="2111581"/>
                  <a:pt x="702051" y="2233347"/>
                </a:cubicBezTo>
                <a:cubicBezTo>
                  <a:pt x="875300" y="2347094"/>
                  <a:pt x="1082651" y="2412830"/>
                  <a:pt x="1305356" y="2412830"/>
                </a:cubicBezTo>
                <a:cubicBezTo>
                  <a:pt x="1649176" y="2412830"/>
                  <a:pt x="1956402" y="2256154"/>
                  <a:pt x="2159509" y="2010283"/>
                </a:cubicBezTo>
                <a:cubicBezTo>
                  <a:pt x="2111204" y="2014741"/>
                  <a:pt x="2062255" y="2016547"/>
                  <a:pt x="2012815" y="2016547"/>
                </a:cubicBezTo>
                <a:cubicBezTo>
                  <a:pt x="1920488" y="2016547"/>
                  <a:pt x="1829870" y="2010248"/>
                  <a:pt x="1741816" y="1995896"/>
                </a:cubicBezTo>
                <a:cubicBezTo>
                  <a:pt x="1697066" y="2053279"/>
                  <a:pt x="1627112" y="2089547"/>
                  <a:pt x="1548687" y="2089547"/>
                </a:cubicBezTo>
                <a:cubicBezTo>
                  <a:pt x="1425687" y="2089547"/>
                  <a:pt x="1323524" y="2000335"/>
                  <a:pt x="1304035" y="1882972"/>
                </a:cubicBezTo>
                <a:cubicBezTo>
                  <a:pt x="1156203" y="1826416"/>
                  <a:pt x="1020119" y="1751039"/>
                  <a:pt x="900132" y="1659508"/>
                </a:cubicBezTo>
                <a:close/>
                <a:moveTo>
                  <a:pt x="326784" y="787357"/>
                </a:moveTo>
                <a:cubicBezTo>
                  <a:pt x="244341" y="941756"/>
                  <a:pt x="197882" y="1118130"/>
                  <a:pt x="197882" y="1305356"/>
                </a:cubicBezTo>
                <a:cubicBezTo>
                  <a:pt x="197882" y="1524075"/>
                  <a:pt x="261286" y="1727986"/>
                  <a:pt x="371590" y="1899154"/>
                </a:cubicBezTo>
                <a:cubicBezTo>
                  <a:pt x="367754" y="1880810"/>
                  <a:pt x="367351" y="1862246"/>
                  <a:pt x="367351" y="1843600"/>
                </a:cubicBezTo>
                <a:cubicBezTo>
                  <a:pt x="367351" y="1734956"/>
                  <a:pt x="381029" y="1629062"/>
                  <a:pt x="407760" y="1527398"/>
                </a:cubicBezTo>
                <a:cubicBezTo>
                  <a:pt x="351809" y="1457631"/>
                  <a:pt x="319328" y="1368887"/>
                  <a:pt x="319328" y="1272556"/>
                </a:cubicBezTo>
                <a:cubicBezTo>
                  <a:pt x="319328" y="1180502"/>
                  <a:pt x="348989" y="1095376"/>
                  <a:pt x="400195" y="1026883"/>
                </a:cubicBezTo>
                <a:cubicBezTo>
                  <a:pt x="367473" y="950052"/>
                  <a:pt x="342803" y="869972"/>
                  <a:pt x="326784" y="787357"/>
                </a:cubicBezTo>
                <a:close/>
                <a:moveTo>
                  <a:pt x="1358809" y="759796"/>
                </a:moveTo>
                <a:cubicBezTo>
                  <a:pt x="1239078" y="818380"/>
                  <a:pt x="1130049" y="891267"/>
                  <a:pt x="1035634" y="976541"/>
                </a:cubicBezTo>
                <a:cubicBezTo>
                  <a:pt x="1111291" y="1052347"/>
                  <a:pt x="1158036" y="1156993"/>
                  <a:pt x="1158036" y="1272556"/>
                </a:cubicBezTo>
                <a:cubicBezTo>
                  <a:pt x="1158036" y="1358206"/>
                  <a:pt x="1132359" y="1437859"/>
                  <a:pt x="1088022" y="1504063"/>
                </a:cubicBezTo>
                <a:cubicBezTo>
                  <a:pt x="1174051" y="1568324"/>
                  <a:pt x="1270034" y="1622103"/>
                  <a:pt x="1373719" y="1663750"/>
                </a:cubicBezTo>
                <a:cubicBezTo>
                  <a:pt x="1418598" y="1619175"/>
                  <a:pt x="1480435" y="1591705"/>
                  <a:pt x="1548687" y="1591705"/>
                </a:cubicBezTo>
                <a:cubicBezTo>
                  <a:pt x="1664038" y="1591705"/>
                  <a:pt x="1761064" y="1670167"/>
                  <a:pt x="1788338" y="1776889"/>
                </a:cubicBezTo>
                <a:cubicBezTo>
                  <a:pt x="1861345" y="1788370"/>
                  <a:pt x="1936390" y="1793457"/>
                  <a:pt x="2012815" y="1793457"/>
                </a:cubicBezTo>
                <a:cubicBezTo>
                  <a:pt x="2115398" y="1793457"/>
                  <a:pt x="2215494" y="1784292"/>
                  <a:pt x="2311784" y="1765530"/>
                </a:cubicBezTo>
                <a:cubicBezTo>
                  <a:pt x="2333378" y="1721025"/>
                  <a:pt x="2351048" y="1674444"/>
                  <a:pt x="2365177" y="1626375"/>
                </a:cubicBezTo>
                <a:lnTo>
                  <a:pt x="2202628" y="1494320"/>
                </a:lnTo>
                <a:cubicBezTo>
                  <a:pt x="2146093" y="1541780"/>
                  <a:pt x="2073019" y="1569480"/>
                  <a:pt x="1993476" y="1569480"/>
                </a:cubicBezTo>
                <a:cubicBezTo>
                  <a:pt x="1808307" y="1569480"/>
                  <a:pt x="1658197" y="1419370"/>
                  <a:pt x="1658197" y="1234201"/>
                </a:cubicBezTo>
                <a:cubicBezTo>
                  <a:pt x="1658197" y="1173835"/>
                  <a:pt x="1674151" y="1117195"/>
                  <a:pt x="1703372" y="1069009"/>
                </a:cubicBezTo>
                <a:cubicBezTo>
                  <a:pt x="1579585" y="960620"/>
                  <a:pt x="1465000" y="856910"/>
                  <a:pt x="1358809" y="759796"/>
                </a:cubicBezTo>
                <a:close/>
                <a:moveTo>
                  <a:pt x="2077117" y="595048"/>
                </a:moveTo>
                <a:cubicBezTo>
                  <a:pt x="1893185" y="595048"/>
                  <a:pt x="1717247" y="624514"/>
                  <a:pt x="1555753" y="679536"/>
                </a:cubicBezTo>
                <a:cubicBezTo>
                  <a:pt x="1646868" y="763770"/>
                  <a:pt x="1742881" y="850965"/>
                  <a:pt x="1840379" y="937533"/>
                </a:cubicBezTo>
                <a:cubicBezTo>
                  <a:pt x="1885750" y="912375"/>
                  <a:pt x="1938042" y="898922"/>
                  <a:pt x="1993476" y="898922"/>
                </a:cubicBezTo>
                <a:cubicBezTo>
                  <a:pt x="2178645" y="898922"/>
                  <a:pt x="2328755" y="1049032"/>
                  <a:pt x="2328755" y="1234201"/>
                </a:cubicBezTo>
                <a:cubicBezTo>
                  <a:pt x="2328755" y="1272990"/>
                  <a:pt x="2322168" y="1310240"/>
                  <a:pt x="2308704" y="1344423"/>
                </a:cubicBezTo>
                <a:lnTo>
                  <a:pt x="2406112" y="1425145"/>
                </a:lnTo>
                <a:cubicBezTo>
                  <a:pt x="2410658" y="1385818"/>
                  <a:pt x="2412830" y="1345841"/>
                  <a:pt x="2412830" y="1305356"/>
                </a:cubicBezTo>
                <a:cubicBezTo>
                  <a:pt x="2412830" y="1036563"/>
                  <a:pt x="2317071" y="790135"/>
                  <a:pt x="2157688" y="598425"/>
                </a:cubicBezTo>
                <a:cubicBezTo>
                  <a:pt x="2131065" y="595686"/>
                  <a:pt x="2104177" y="595048"/>
                  <a:pt x="2077117" y="595048"/>
                </a:cubicBezTo>
                <a:close/>
                <a:moveTo>
                  <a:pt x="850619" y="296309"/>
                </a:moveTo>
                <a:cubicBezTo>
                  <a:pt x="745920" y="342505"/>
                  <a:pt x="650219" y="405265"/>
                  <a:pt x="566952" y="481629"/>
                </a:cubicBezTo>
                <a:cubicBezTo>
                  <a:pt x="562856" y="502474"/>
                  <a:pt x="562237" y="523628"/>
                  <a:pt x="562237" y="544906"/>
                </a:cubicBezTo>
                <a:cubicBezTo>
                  <a:pt x="562237" y="658977"/>
                  <a:pt x="580010" y="769475"/>
                  <a:pt x="614749" y="873958"/>
                </a:cubicBezTo>
                <a:cubicBezTo>
                  <a:pt x="653488" y="859785"/>
                  <a:pt x="695317" y="853202"/>
                  <a:pt x="738682" y="853202"/>
                </a:cubicBezTo>
                <a:lnTo>
                  <a:pt x="809682" y="860360"/>
                </a:lnTo>
                <a:cubicBezTo>
                  <a:pt x="915604" y="755988"/>
                  <a:pt x="1040099" y="666686"/>
                  <a:pt x="1177617" y="593776"/>
                </a:cubicBezTo>
                <a:cubicBezTo>
                  <a:pt x="1055870" y="481736"/>
                  <a:pt x="947131" y="381614"/>
                  <a:pt x="850619" y="296309"/>
                </a:cubicBezTo>
                <a:close/>
                <a:moveTo>
                  <a:pt x="1305356" y="197882"/>
                </a:moveTo>
                <a:cubicBezTo>
                  <a:pt x="1228261" y="197882"/>
                  <a:pt x="1153005" y="205760"/>
                  <a:pt x="1080369" y="220843"/>
                </a:cubicBezTo>
                <a:cubicBezTo>
                  <a:pt x="1155718" y="299808"/>
                  <a:pt x="1255185" y="397466"/>
                  <a:pt x="1368946" y="505293"/>
                </a:cubicBezTo>
                <a:cubicBezTo>
                  <a:pt x="1536969" y="438118"/>
                  <a:pt x="1719963" y="394608"/>
                  <a:pt x="1912410" y="379643"/>
                </a:cubicBezTo>
                <a:cubicBezTo>
                  <a:pt x="1738338" y="264549"/>
                  <a:pt x="1529632" y="197882"/>
                  <a:pt x="1305356" y="197882"/>
                </a:cubicBezTo>
                <a:close/>
                <a:moveTo>
                  <a:pt x="1305356" y="0"/>
                </a:moveTo>
                <a:cubicBezTo>
                  <a:pt x="2026284" y="0"/>
                  <a:pt x="2610712" y="584428"/>
                  <a:pt x="2610712" y="1305356"/>
                </a:cubicBezTo>
                <a:cubicBezTo>
                  <a:pt x="2610712" y="2026284"/>
                  <a:pt x="2026284" y="2610712"/>
                  <a:pt x="1305356" y="2610712"/>
                </a:cubicBezTo>
                <a:cubicBezTo>
                  <a:pt x="584428" y="2610712"/>
                  <a:pt x="0" y="2026284"/>
                  <a:pt x="0" y="1305356"/>
                </a:cubicBezTo>
                <a:cubicBezTo>
                  <a:pt x="0" y="584428"/>
                  <a:pt x="584428" y="0"/>
                  <a:pt x="130535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2400"/>
          </a:p>
        </p:txBody>
      </p:sp>
      <p:sp>
        <p:nvSpPr>
          <p:cNvPr id="14" name="Rectangle 13"/>
          <p:cNvSpPr/>
          <p:nvPr/>
        </p:nvSpPr>
        <p:spPr>
          <a:xfrm>
            <a:off x="6169203"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Storage Services</a:t>
            </a:r>
            <a:endParaRPr lang="en-US" sz="1600" dirty="0"/>
          </a:p>
        </p:txBody>
      </p:sp>
      <p:sp>
        <p:nvSpPr>
          <p:cNvPr id="27" name="Storage Icon"/>
          <p:cNvSpPr>
            <a:spLocks noChangeAspect="1"/>
          </p:cNvSpPr>
          <p:nvPr/>
        </p:nvSpPr>
        <p:spPr>
          <a:xfrm>
            <a:off x="6617058" y="1586448"/>
            <a:ext cx="813816" cy="675367"/>
          </a:xfrm>
          <a:custGeom>
            <a:avLst/>
            <a:gdLst>
              <a:gd name="connsiteX0" fmla="*/ 2252121 w 3083700"/>
              <a:gd name="connsiteY0" fmla="*/ 2007454 h 2559086"/>
              <a:gd name="connsiteX1" fmla="*/ 2252121 w 3083700"/>
              <a:gd name="connsiteY1" fmla="*/ 2359879 h 2559086"/>
              <a:gd name="connsiteX2" fmla="*/ 2878866 w 3083700"/>
              <a:gd name="connsiteY2" fmla="*/ 2359879 h 2559086"/>
              <a:gd name="connsiteX3" fmla="*/ 2878866 w 3083700"/>
              <a:gd name="connsiteY3" fmla="*/ 2007454 h 2559086"/>
              <a:gd name="connsiteX4" fmla="*/ 1569692 w 3083700"/>
              <a:gd name="connsiteY4" fmla="*/ 2007454 h 2559086"/>
              <a:gd name="connsiteX5" fmla="*/ 1569692 w 3083700"/>
              <a:gd name="connsiteY5" fmla="*/ 2359879 h 2559086"/>
              <a:gd name="connsiteX6" fmla="*/ 2196437 w 3083700"/>
              <a:gd name="connsiteY6" fmla="*/ 2359879 h 2559086"/>
              <a:gd name="connsiteX7" fmla="*/ 2196437 w 3083700"/>
              <a:gd name="connsiteY7" fmla="*/ 2007454 h 2559086"/>
              <a:gd name="connsiteX8" fmla="*/ 887263 w 3083700"/>
              <a:gd name="connsiteY8" fmla="*/ 2007454 h 2559086"/>
              <a:gd name="connsiteX9" fmla="*/ 887263 w 3083700"/>
              <a:gd name="connsiteY9" fmla="*/ 2359879 h 2559086"/>
              <a:gd name="connsiteX10" fmla="*/ 1514008 w 3083700"/>
              <a:gd name="connsiteY10" fmla="*/ 2359879 h 2559086"/>
              <a:gd name="connsiteX11" fmla="*/ 1514008 w 3083700"/>
              <a:gd name="connsiteY11" fmla="*/ 2007454 h 2559086"/>
              <a:gd name="connsiteX12" fmla="*/ 204834 w 3083700"/>
              <a:gd name="connsiteY12" fmla="*/ 2007454 h 2559086"/>
              <a:gd name="connsiteX13" fmla="*/ 204834 w 3083700"/>
              <a:gd name="connsiteY13" fmla="*/ 2359879 h 2559086"/>
              <a:gd name="connsiteX14" fmla="*/ 831579 w 3083700"/>
              <a:gd name="connsiteY14" fmla="*/ 2359879 h 2559086"/>
              <a:gd name="connsiteX15" fmla="*/ 831579 w 3083700"/>
              <a:gd name="connsiteY15" fmla="*/ 2007454 h 2559086"/>
              <a:gd name="connsiteX16" fmla="*/ 2252121 w 3083700"/>
              <a:gd name="connsiteY16" fmla="*/ 1570202 h 2559086"/>
              <a:gd name="connsiteX17" fmla="*/ 2252121 w 3083700"/>
              <a:gd name="connsiteY17" fmla="*/ 1922627 h 2559086"/>
              <a:gd name="connsiteX18" fmla="*/ 2878866 w 3083700"/>
              <a:gd name="connsiteY18" fmla="*/ 1922627 h 2559086"/>
              <a:gd name="connsiteX19" fmla="*/ 2878866 w 3083700"/>
              <a:gd name="connsiteY19" fmla="*/ 1570202 h 2559086"/>
              <a:gd name="connsiteX20" fmla="*/ 1569692 w 3083700"/>
              <a:gd name="connsiteY20" fmla="*/ 1570202 h 2559086"/>
              <a:gd name="connsiteX21" fmla="*/ 1569692 w 3083700"/>
              <a:gd name="connsiteY21" fmla="*/ 1922627 h 2559086"/>
              <a:gd name="connsiteX22" fmla="*/ 2196437 w 3083700"/>
              <a:gd name="connsiteY22" fmla="*/ 1922627 h 2559086"/>
              <a:gd name="connsiteX23" fmla="*/ 2196437 w 3083700"/>
              <a:gd name="connsiteY23" fmla="*/ 1570202 h 2559086"/>
              <a:gd name="connsiteX24" fmla="*/ 887263 w 3083700"/>
              <a:gd name="connsiteY24" fmla="*/ 1570202 h 2559086"/>
              <a:gd name="connsiteX25" fmla="*/ 887263 w 3083700"/>
              <a:gd name="connsiteY25" fmla="*/ 1922627 h 2559086"/>
              <a:gd name="connsiteX26" fmla="*/ 1514008 w 3083700"/>
              <a:gd name="connsiteY26" fmla="*/ 1922627 h 2559086"/>
              <a:gd name="connsiteX27" fmla="*/ 1514008 w 3083700"/>
              <a:gd name="connsiteY27" fmla="*/ 1570202 h 2559086"/>
              <a:gd name="connsiteX28" fmla="*/ 204834 w 3083700"/>
              <a:gd name="connsiteY28" fmla="*/ 1570202 h 2559086"/>
              <a:gd name="connsiteX29" fmla="*/ 204834 w 3083700"/>
              <a:gd name="connsiteY29" fmla="*/ 1922627 h 2559086"/>
              <a:gd name="connsiteX30" fmla="*/ 831579 w 3083700"/>
              <a:gd name="connsiteY30" fmla="*/ 1922627 h 2559086"/>
              <a:gd name="connsiteX31" fmla="*/ 831579 w 3083700"/>
              <a:gd name="connsiteY31" fmla="*/ 1570202 h 2559086"/>
              <a:gd name="connsiteX32" fmla="*/ 2252121 w 3083700"/>
              <a:gd name="connsiteY32" fmla="*/ 1132950 h 2559086"/>
              <a:gd name="connsiteX33" fmla="*/ 2252121 w 3083700"/>
              <a:gd name="connsiteY33" fmla="*/ 1485375 h 2559086"/>
              <a:gd name="connsiteX34" fmla="*/ 2878866 w 3083700"/>
              <a:gd name="connsiteY34" fmla="*/ 1485375 h 2559086"/>
              <a:gd name="connsiteX35" fmla="*/ 2878866 w 3083700"/>
              <a:gd name="connsiteY35" fmla="*/ 1132950 h 2559086"/>
              <a:gd name="connsiteX36" fmla="*/ 1569692 w 3083700"/>
              <a:gd name="connsiteY36" fmla="*/ 1132950 h 2559086"/>
              <a:gd name="connsiteX37" fmla="*/ 1569692 w 3083700"/>
              <a:gd name="connsiteY37" fmla="*/ 1485375 h 2559086"/>
              <a:gd name="connsiteX38" fmla="*/ 2196437 w 3083700"/>
              <a:gd name="connsiteY38" fmla="*/ 1485375 h 2559086"/>
              <a:gd name="connsiteX39" fmla="*/ 2196437 w 3083700"/>
              <a:gd name="connsiteY39" fmla="*/ 1132950 h 2559086"/>
              <a:gd name="connsiteX40" fmla="*/ 887263 w 3083700"/>
              <a:gd name="connsiteY40" fmla="*/ 1132950 h 2559086"/>
              <a:gd name="connsiteX41" fmla="*/ 887263 w 3083700"/>
              <a:gd name="connsiteY41" fmla="*/ 1485375 h 2559086"/>
              <a:gd name="connsiteX42" fmla="*/ 1514008 w 3083700"/>
              <a:gd name="connsiteY42" fmla="*/ 1485375 h 2559086"/>
              <a:gd name="connsiteX43" fmla="*/ 1514008 w 3083700"/>
              <a:gd name="connsiteY43" fmla="*/ 1132950 h 2559086"/>
              <a:gd name="connsiteX44" fmla="*/ 204834 w 3083700"/>
              <a:gd name="connsiteY44" fmla="*/ 1132950 h 2559086"/>
              <a:gd name="connsiteX45" fmla="*/ 204834 w 3083700"/>
              <a:gd name="connsiteY45" fmla="*/ 1485375 h 2559086"/>
              <a:gd name="connsiteX46" fmla="*/ 831579 w 3083700"/>
              <a:gd name="connsiteY46" fmla="*/ 1485375 h 2559086"/>
              <a:gd name="connsiteX47" fmla="*/ 831579 w 3083700"/>
              <a:gd name="connsiteY47" fmla="*/ 1132950 h 2559086"/>
              <a:gd name="connsiteX48" fmla="*/ 2252121 w 3083700"/>
              <a:gd name="connsiteY48" fmla="*/ 695698 h 2559086"/>
              <a:gd name="connsiteX49" fmla="*/ 2252121 w 3083700"/>
              <a:gd name="connsiteY49" fmla="*/ 1048123 h 2559086"/>
              <a:gd name="connsiteX50" fmla="*/ 2878866 w 3083700"/>
              <a:gd name="connsiteY50" fmla="*/ 1048123 h 2559086"/>
              <a:gd name="connsiteX51" fmla="*/ 2878866 w 3083700"/>
              <a:gd name="connsiteY51" fmla="*/ 695698 h 2559086"/>
              <a:gd name="connsiteX52" fmla="*/ 1569692 w 3083700"/>
              <a:gd name="connsiteY52" fmla="*/ 695698 h 2559086"/>
              <a:gd name="connsiteX53" fmla="*/ 1569692 w 3083700"/>
              <a:gd name="connsiteY53" fmla="*/ 1048123 h 2559086"/>
              <a:gd name="connsiteX54" fmla="*/ 2196437 w 3083700"/>
              <a:gd name="connsiteY54" fmla="*/ 1048123 h 2559086"/>
              <a:gd name="connsiteX55" fmla="*/ 2196437 w 3083700"/>
              <a:gd name="connsiteY55" fmla="*/ 695698 h 2559086"/>
              <a:gd name="connsiteX56" fmla="*/ 887263 w 3083700"/>
              <a:gd name="connsiteY56" fmla="*/ 695698 h 2559086"/>
              <a:gd name="connsiteX57" fmla="*/ 887263 w 3083700"/>
              <a:gd name="connsiteY57" fmla="*/ 1048123 h 2559086"/>
              <a:gd name="connsiteX58" fmla="*/ 1514008 w 3083700"/>
              <a:gd name="connsiteY58" fmla="*/ 1048123 h 2559086"/>
              <a:gd name="connsiteX59" fmla="*/ 1514008 w 3083700"/>
              <a:gd name="connsiteY59" fmla="*/ 695698 h 2559086"/>
              <a:gd name="connsiteX60" fmla="*/ 204834 w 3083700"/>
              <a:gd name="connsiteY60" fmla="*/ 695698 h 2559086"/>
              <a:gd name="connsiteX61" fmla="*/ 204834 w 3083700"/>
              <a:gd name="connsiteY61" fmla="*/ 1048123 h 2559086"/>
              <a:gd name="connsiteX62" fmla="*/ 831579 w 3083700"/>
              <a:gd name="connsiteY62" fmla="*/ 1048123 h 2559086"/>
              <a:gd name="connsiteX63" fmla="*/ 831579 w 3083700"/>
              <a:gd name="connsiteY63" fmla="*/ 695698 h 2559086"/>
              <a:gd name="connsiteX64" fmla="*/ 130744 w 3083700"/>
              <a:gd name="connsiteY64" fmla="*/ 0 h 2559086"/>
              <a:gd name="connsiteX65" fmla="*/ 2952956 w 3083700"/>
              <a:gd name="connsiteY65" fmla="*/ 0 h 2559086"/>
              <a:gd name="connsiteX66" fmla="*/ 3083700 w 3083700"/>
              <a:gd name="connsiteY66" fmla="*/ 130744 h 2559086"/>
              <a:gd name="connsiteX67" fmla="*/ 3083700 w 3083700"/>
              <a:gd name="connsiteY67" fmla="*/ 2428342 h 2559086"/>
              <a:gd name="connsiteX68" fmla="*/ 2952956 w 3083700"/>
              <a:gd name="connsiteY68" fmla="*/ 2559086 h 2559086"/>
              <a:gd name="connsiteX69" fmla="*/ 130744 w 3083700"/>
              <a:gd name="connsiteY69" fmla="*/ 2559086 h 2559086"/>
              <a:gd name="connsiteX70" fmla="*/ 0 w 3083700"/>
              <a:gd name="connsiteY70" fmla="*/ 2428342 h 2559086"/>
              <a:gd name="connsiteX71" fmla="*/ 0 w 3083700"/>
              <a:gd name="connsiteY71" fmla="*/ 130744 h 2559086"/>
              <a:gd name="connsiteX72" fmla="*/ 130744 w 3083700"/>
              <a:gd name="connsiteY72" fmla="*/ 0 h 25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3700" h="2559086">
                <a:moveTo>
                  <a:pt x="2252121" y="2007454"/>
                </a:moveTo>
                <a:lnTo>
                  <a:pt x="2252121" y="2359879"/>
                </a:lnTo>
                <a:lnTo>
                  <a:pt x="2878866" y="2359879"/>
                </a:lnTo>
                <a:lnTo>
                  <a:pt x="2878866" y="2007454"/>
                </a:lnTo>
                <a:close/>
                <a:moveTo>
                  <a:pt x="1569692" y="2007454"/>
                </a:moveTo>
                <a:lnTo>
                  <a:pt x="1569692" y="2359879"/>
                </a:lnTo>
                <a:lnTo>
                  <a:pt x="2196437" y="2359879"/>
                </a:lnTo>
                <a:lnTo>
                  <a:pt x="2196437" y="2007454"/>
                </a:lnTo>
                <a:close/>
                <a:moveTo>
                  <a:pt x="887263" y="2007454"/>
                </a:moveTo>
                <a:lnTo>
                  <a:pt x="887263" y="2359879"/>
                </a:lnTo>
                <a:lnTo>
                  <a:pt x="1514008" y="2359879"/>
                </a:lnTo>
                <a:lnTo>
                  <a:pt x="1514008" y="2007454"/>
                </a:lnTo>
                <a:close/>
                <a:moveTo>
                  <a:pt x="204834" y="2007454"/>
                </a:moveTo>
                <a:lnTo>
                  <a:pt x="204834" y="2359879"/>
                </a:lnTo>
                <a:lnTo>
                  <a:pt x="831579" y="2359879"/>
                </a:lnTo>
                <a:lnTo>
                  <a:pt x="831579" y="2007454"/>
                </a:lnTo>
                <a:close/>
                <a:moveTo>
                  <a:pt x="2252121" y="1570202"/>
                </a:moveTo>
                <a:lnTo>
                  <a:pt x="2252121" y="1922627"/>
                </a:lnTo>
                <a:lnTo>
                  <a:pt x="2878866" y="1922627"/>
                </a:lnTo>
                <a:lnTo>
                  <a:pt x="2878866" y="1570202"/>
                </a:lnTo>
                <a:close/>
                <a:moveTo>
                  <a:pt x="1569692" y="1570202"/>
                </a:moveTo>
                <a:lnTo>
                  <a:pt x="1569692" y="1922627"/>
                </a:lnTo>
                <a:lnTo>
                  <a:pt x="2196437" y="1922627"/>
                </a:lnTo>
                <a:lnTo>
                  <a:pt x="2196437" y="1570202"/>
                </a:lnTo>
                <a:close/>
                <a:moveTo>
                  <a:pt x="887263" y="1570202"/>
                </a:moveTo>
                <a:lnTo>
                  <a:pt x="887263" y="1922627"/>
                </a:lnTo>
                <a:lnTo>
                  <a:pt x="1514008" y="1922627"/>
                </a:lnTo>
                <a:lnTo>
                  <a:pt x="1514008" y="1570202"/>
                </a:lnTo>
                <a:close/>
                <a:moveTo>
                  <a:pt x="204834" y="1570202"/>
                </a:moveTo>
                <a:lnTo>
                  <a:pt x="204834" y="1922627"/>
                </a:lnTo>
                <a:lnTo>
                  <a:pt x="831579" y="1922627"/>
                </a:lnTo>
                <a:lnTo>
                  <a:pt x="831579" y="1570202"/>
                </a:lnTo>
                <a:close/>
                <a:moveTo>
                  <a:pt x="2252121" y="1132950"/>
                </a:moveTo>
                <a:lnTo>
                  <a:pt x="2252121" y="1485375"/>
                </a:lnTo>
                <a:lnTo>
                  <a:pt x="2878866" y="1485375"/>
                </a:lnTo>
                <a:lnTo>
                  <a:pt x="2878866" y="1132950"/>
                </a:lnTo>
                <a:close/>
                <a:moveTo>
                  <a:pt x="1569692" y="1132950"/>
                </a:moveTo>
                <a:lnTo>
                  <a:pt x="1569692" y="1485375"/>
                </a:lnTo>
                <a:lnTo>
                  <a:pt x="2196437" y="1485375"/>
                </a:lnTo>
                <a:lnTo>
                  <a:pt x="2196437" y="1132950"/>
                </a:lnTo>
                <a:close/>
                <a:moveTo>
                  <a:pt x="887263" y="1132950"/>
                </a:moveTo>
                <a:lnTo>
                  <a:pt x="887263" y="1485375"/>
                </a:lnTo>
                <a:lnTo>
                  <a:pt x="1514008" y="1485375"/>
                </a:lnTo>
                <a:lnTo>
                  <a:pt x="1514008" y="1132950"/>
                </a:lnTo>
                <a:close/>
                <a:moveTo>
                  <a:pt x="204834" y="1132950"/>
                </a:moveTo>
                <a:lnTo>
                  <a:pt x="204834" y="1485375"/>
                </a:lnTo>
                <a:lnTo>
                  <a:pt x="831579" y="1485375"/>
                </a:lnTo>
                <a:lnTo>
                  <a:pt x="831579" y="1132950"/>
                </a:lnTo>
                <a:close/>
                <a:moveTo>
                  <a:pt x="2252121" y="695698"/>
                </a:moveTo>
                <a:lnTo>
                  <a:pt x="2252121" y="1048123"/>
                </a:lnTo>
                <a:lnTo>
                  <a:pt x="2878866" y="1048123"/>
                </a:lnTo>
                <a:lnTo>
                  <a:pt x="2878866" y="695698"/>
                </a:lnTo>
                <a:close/>
                <a:moveTo>
                  <a:pt x="1569692" y="695698"/>
                </a:moveTo>
                <a:lnTo>
                  <a:pt x="1569692" y="1048123"/>
                </a:lnTo>
                <a:lnTo>
                  <a:pt x="2196437" y="1048123"/>
                </a:lnTo>
                <a:lnTo>
                  <a:pt x="2196437" y="695698"/>
                </a:lnTo>
                <a:close/>
                <a:moveTo>
                  <a:pt x="887263" y="695698"/>
                </a:moveTo>
                <a:lnTo>
                  <a:pt x="887263" y="1048123"/>
                </a:lnTo>
                <a:lnTo>
                  <a:pt x="1514008" y="1048123"/>
                </a:lnTo>
                <a:lnTo>
                  <a:pt x="1514008" y="695698"/>
                </a:lnTo>
                <a:close/>
                <a:moveTo>
                  <a:pt x="204834" y="695698"/>
                </a:moveTo>
                <a:lnTo>
                  <a:pt x="204834" y="1048123"/>
                </a:lnTo>
                <a:lnTo>
                  <a:pt x="831579" y="1048123"/>
                </a:lnTo>
                <a:lnTo>
                  <a:pt x="831579" y="695698"/>
                </a:lnTo>
                <a:close/>
                <a:moveTo>
                  <a:pt x="130744" y="0"/>
                </a:moveTo>
                <a:lnTo>
                  <a:pt x="2952956" y="0"/>
                </a:lnTo>
                <a:cubicBezTo>
                  <a:pt x="3025164" y="0"/>
                  <a:pt x="3083700" y="58536"/>
                  <a:pt x="3083700" y="130744"/>
                </a:cubicBezTo>
                <a:lnTo>
                  <a:pt x="3083700" y="2428342"/>
                </a:lnTo>
                <a:cubicBezTo>
                  <a:pt x="3083700" y="2500550"/>
                  <a:pt x="3025164" y="2559086"/>
                  <a:pt x="2952956" y="2559086"/>
                </a:cubicBezTo>
                <a:lnTo>
                  <a:pt x="130744" y="2559086"/>
                </a:lnTo>
                <a:cubicBezTo>
                  <a:pt x="58536" y="2559086"/>
                  <a:pt x="0" y="2500550"/>
                  <a:pt x="0" y="2428342"/>
                </a:cubicBezTo>
                <a:lnTo>
                  <a:pt x="0" y="130744"/>
                </a:lnTo>
                <a:cubicBezTo>
                  <a:pt x="0" y="58536"/>
                  <a:pt x="58536" y="0"/>
                  <a:pt x="1307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7" name="Rectangle 16"/>
          <p:cNvSpPr/>
          <p:nvPr/>
        </p:nvSpPr>
        <p:spPr>
          <a:xfrm>
            <a:off x="8025136"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SQL Database</a:t>
            </a:r>
            <a:endParaRPr lang="en-US" sz="1600" dirty="0"/>
          </a:p>
        </p:txBody>
      </p:sp>
      <p:sp>
        <p:nvSpPr>
          <p:cNvPr id="23" name="SQL Database Icon"/>
          <p:cNvSpPr>
            <a:spLocks noChangeAspect="1"/>
          </p:cNvSpPr>
          <p:nvPr/>
        </p:nvSpPr>
        <p:spPr>
          <a:xfrm>
            <a:off x="8572084" y="1517223"/>
            <a:ext cx="615629" cy="813816"/>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800" dirty="0">
              <a:solidFill>
                <a:schemeClr val="tx2"/>
              </a:solidFill>
            </a:endParaRPr>
          </a:p>
        </p:txBody>
      </p:sp>
      <p:sp>
        <p:nvSpPr>
          <p:cNvPr id="20" name="Rectangle 19"/>
          <p:cNvSpPr/>
          <p:nvPr/>
        </p:nvSpPr>
        <p:spPr>
          <a:xfrm>
            <a:off x="9881069"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Service Bus</a:t>
            </a:r>
            <a:endParaRPr lang="en-US" sz="1600" dirty="0"/>
          </a:p>
        </p:txBody>
      </p:sp>
      <p:sp>
        <p:nvSpPr>
          <p:cNvPr id="25" name="Service Bus Icon"/>
          <p:cNvSpPr>
            <a:spLocks noChangeAspect="1"/>
          </p:cNvSpPr>
          <p:nvPr/>
        </p:nvSpPr>
        <p:spPr>
          <a:xfrm>
            <a:off x="10378350" y="1517223"/>
            <a:ext cx="714963" cy="813816"/>
          </a:xfrm>
          <a:custGeom>
            <a:avLst/>
            <a:gdLst>
              <a:gd name="connsiteX0" fmla="*/ 109937 w 393631"/>
              <a:gd name="connsiteY0" fmla="*/ 255147 h 448056"/>
              <a:gd name="connsiteX1" fmla="*/ 159550 w 393631"/>
              <a:gd name="connsiteY1" fmla="*/ 255147 h 448056"/>
              <a:gd name="connsiteX2" fmla="*/ 159550 w 393631"/>
              <a:gd name="connsiteY2" fmla="*/ 356612 h 448056"/>
              <a:gd name="connsiteX3" fmla="*/ 193061 w 393631"/>
              <a:gd name="connsiteY3" fmla="*/ 356612 h 448056"/>
              <a:gd name="connsiteX4" fmla="*/ 134430 w 393631"/>
              <a:gd name="connsiteY4" fmla="*/ 448056 h 448056"/>
              <a:gd name="connsiteX5" fmla="*/ 75800 w 393631"/>
              <a:gd name="connsiteY5" fmla="*/ 356612 h 448056"/>
              <a:gd name="connsiteX6" fmla="*/ 109937 w 393631"/>
              <a:gd name="connsiteY6" fmla="*/ 356612 h 448056"/>
              <a:gd name="connsiteX7" fmla="*/ 85131 w 393631"/>
              <a:gd name="connsiteY7" fmla="*/ 207227 h 448056"/>
              <a:gd name="connsiteX8" fmla="*/ 197505 w 393631"/>
              <a:gd name="connsiteY8" fmla="*/ 207227 h 448056"/>
              <a:gd name="connsiteX9" fmla="*/ 197505 w 393631"/>
              <a:gd name="connsiteY9" fmla="*/ 233451 h 448056"/>
              <a:gd name="connsiteX10" fmla="*/ 85131 w 393631"/>
              <a:gd name="connsiteY10" fmla="*/ 233451 h 448056"/>
              <a:gd name="connsiteX11" fmla="*/ 85131 w 393631"/>
              <a:gd name="connsiteY11" fmla="*/ 170997 h 448056"/>
              <a:gd name="connsiteX12" fmla="*/ 197505 w 393631"/>
              <a:gd name="connsiteY12" fmla="*/ 170997 h 448056"/>
              <a:gd name="connsiteX13" fmla="*/ 197505 w 393631"/>
              <a:gd name="connsiteY13" fmla="*/ 197220 h 448056"/>
              <a:gd name="connsiteX14" fmla="*/ 85131 w 393631"/>
              <a:gd name="connsiteY14" fmla="*/ 197220 h 448056"/>
              <a:gd name="connsiteX15" fmla="*/ 85131 w 393631"/>
              <a:gd name="connsiteY15" fmla="*/ 134440 h 448056"/>
              <a:gd name="connsiteX16" fmla="*/ 197505 w 393631"/>
              <a:gd name="connsiteY16" fmla="*/ 134440 h 448056"/>
              <a:gd name="connsiteX17" fmla="*/ 197505 w 393631"/>
              <a:gd name="connsiteY17" fmla="*/ 160663 h 448056"/>
              <a:gd name="connsiteX18" fmla="*/ 85131 w 393631"/>
              <a:gd name="connsiteY18" fmla="*/ 160663 h 448056"/>
              <a:gd name="connsiteX19" fmla="*/ 184780 w 393631"/>
              <a:gd name="connsiteY19" fmla="*/ 33581 h 448056"/>
              <a:gd name="connsiteX20" fmla="*/ 306050 w 393631"/>
              <a:gd name="connsiteY20" fmla="*/ 165478 h 448056"/>
              <a:gd name="connsiteX21" fmla="*/ 306020 w 393631"/>
              <a:gd name="connsiteY21" fmla="*/ 182421 h 448056"/>
              <a:gd name="connsiteX22" fmla="*/ 323294 w 393631"/>
              <a:gd name="connsiteY22" fmla="*/ 182360 h 448056"/>
              <a:gd name="connsiteX23" fmla="*/ 323488 w 393631"/>
              <a:gd name="connsiteY23" fmla="*/ 182529 h 448056"/>
              <a:gd name="connsiteX24" fmla="*/ 323884 w 393631"/>
              <a:gd name="connsiteY24" fmla="*/ 182479 h 448056"/>
              <a:gd name="connsiteX25" fmla="*/ 392213 w 393631"/>
              <a:gd name="connsiteY25" fmla="*/ 238169 h 448056"/>
              <a:gd name="connsiteX26" fmla="*/ 393429 w 393631"/>
              <a:gd name="connsiteY26" fmla="*/ 250233 h 448056"/>
              <a:gd name="connsiteX27" fmla="*/ 393631 w 393631"/>
              <a:gd name="connsiteY27" fmla="*/ 250276 h 448056"/>
              <a:gd name="connsiteX28" fmla="*/ 393630 w 393631"/>
              <a:gd name="connsiteY28" fmla="*/ 331260 h 448056"/>
              <a:gd name="connsiteX29" fmla="*/ 344017 w 393631"/>
              <a:gd name="connsiteY29" fmla="*/ 331260 h 448056"/>
              <a:gd name="connsiteX30" fmla="*/ 184779 w 393631"/>
              <a:gd name="connsiteY30" fmla="*/ 331260 h 448056"/>
              <a:gd name="connsiteX31" fmla="*/ 184779 w 393631"/>
              <a:gd name="connsiteY31" fmla="*/ 281647 h 448056"/>
              <a:gd name="connsiteX32" fmla="*/ 343713 w 393631"/>
              <a:gd name="connsiteY32" fmla="*/ 281647 h 448056"/>
              <a:gd name="connsiteX33" fmla="*/ 343607 w 393631"/>
              <a:gd name="connsiteY33" fmla="*/ 274792 h 448056"/>
              <a:gd name="connsiteX34" fmla="*/ 343896 w 393631"/>
              <a:gd name="connsiteY34" fmla="*/ 272497 h 448056"/>
              <a:gd name="connsiteX35" fmla="*/ 311588 w 393631"/>
              <a:gd name="connsiteY35" fmla="*/ 232857 h 448056"/>
              <a:gd name="connsiteX36" fmla="*/ 306587 w 393631"/>
              <a:gd name="connsiteY36" fmla="*/ 232353 h 448056"/>
              <a:gd name="connsiteX37" fmla="*/ 306020 w 393631"/>
              <a:gd name="connsiteY37" fmla="*/ 232034 h 448056"/>
              <a:gd name="connsiteX38" fmla="*/ 256407 w 393631"/>
              <a:gd name="connsiteY38" fmla="*/ 232034 h 448056"/>
              <a:gd name="connsiteX39" fmla="*/ 256407 w 393631"/>
              <a:gd name="connsiteY39" fmla="*/ 232034 h 448056"/>
              <a:gd name="connsiteX40" fmla="*/ 256407 w 393631"/>
              <a:gd name="connsiteY40" fmla="*/ 185664 h 448056"/>
              <a:gd name="connsiteX41" fmla="*/ 256224 w 393631"/>
              <a:gd name="connsiteY41" fmla="*/ 169895 h 448056"/>
              <a:gd name="connsiteX42" fmla="*/ 184780 w 393631"/>
              <a:gd name="connsiteY42" fmla="*/ 82923 h 448056"/>
              <a:gd name="connsiteX43" fmla="*/ 0 w 393631"/>
              <a:gd name="connsiteY43" fmla="*/ 0 h 448056"/>
              <a:gd name="connsiteX44" fmla="*/ 159659 w 393631"/>
              <a:gd name="connsiteY44" fmla="*/ 0 h 448056"/>
              <a:gd name="connsiteX45" fmla="*/ 159659 w 393631"/>
              <a:gd name="connsiteY45" fmla="*/ 49613 h 448056"/>
              <a:gd name="connsiteX46" fmla="*/ 159237 w 393631"/>
              <a:gd name="connsiteY46" fmla="*/ 49613 h 448056"/>
              <a:gd name="connsiteX47" fmla="*/ 159237 w 393631"/>
              <a:gd name="connsiteY47" fmla="*/ 110480 h 448056"/>
              <a:gd name="connsiteX48" fmla="*/ 109624 w 393631"/>
              <a:gd name="connsiteY48" fmla="*/ 110480 h 448056"/>
              <a:gd name="connsiteX49" fmla="*/ 109624 w 393631"/>
              <a:gd name="connsiteY49" fmla="*/ 49613 h 448056"/>
              <a:gd name="connsiteX50" fmla="*/ 49613 w 393631"/>
              <a:gd name="connsiteY50" fmla="*/ 49613 h 448056"/>
              <a:gd name="connsiteX51" fmla="*/ 49613 w 393631"/>
              <a:gd name="connsiteY51" fmla="*/ 281647 h 448056"/>
              <a:gd name="connsiteX52" fmla="*/ 84708 w 393631"/>
              <a:gd name="connsiteY52" fmla="*/ 281647 h 448056"/>
              <a:gd name="connsiteX53" fmla="*/ 84708 w 393631"/>
              <a:gd name="connsiteY53" fmla="*/ 331260 h 448056"/>
              <a:gd name="connsiteX54" fmla="*/ 49613 w 393631"/>
              <a:gd name="connsiteY54" fmla="*/ 331260 h 448056"/>
              <a:gd name="connsiteX55" fmla="*/ 49613 w 393631"/>
              <a:gd name="connsiteY55" fmla="*/ 331261 h 448056"/>
              <a:gd name="connsiteX56" fmla="*/ 0 w 393631"/>
              <a:gd name="connsiteY56" fmla="*/ 331261 h 448056"/>
              <a:gd name="connsiteX57" fmla="*/ 0 w 393631"/>
              <a:gd name="connsiteY57" fmla="*/ 49613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3631" h="448056">
                <a:moveTo>
                  <a:pt x="109937" y="255147"/>
                </a:moveTo>
                <a:lnTo>
                  <a:pt x="159550" y="255147"/>
                </a:lnTo>
                <a:lnTo>
                  <a:pt x="159550" y="356612"/>
                </a:lnTo>
                <a:lnTo>
                  <a:pt x="193061" y="356612"/>
                </a:lnTo>
                <a:lnTo>
                  <a:pt x="134430" y="448056"/>
                </a:lnTo>
                <a:lnTo>
                  <a:pt x="75800" y="356612"/>
                </a:lnTo>
                <a:lnTo>
                  <a:pt x="109937" y="356612"/>
                </a:lnTo>
                <a:close/>
                <a:moveTo>
                  <a:pt x="85131" y="207227"/>
                </a:moveTo>
                <a:lnTo>
                  <a:pt x="197505" y="207227"/>
                </a:lnTo>
                <a:lnTo>
                  <a:pt x="197505" y="233451"/>
                </a:lnTo>
                <a:lnTo>
                  <a:pt x="85131" y="233451"/>
                </a:lnTo>
                <a:close/>
                <a:moveTo>
                  <a:pt x="85131" y="170997"/>
                </a:moveTo>
                <a:lnTo>
                  <a:pt x="197505" y="170997"/>
                </a:lnTo>
                <a:lnTo>
                  <a:pt x="197505" y="197220"/>
                </a:lnTo>
                <a:lnTo>
                  <a:pt x="85131" y="197220"/>
                </a:lnTo>
                <a:close/>
                <a:moveTo>
                  <a:pt x="85131" y="134440"/>
                </a:moveTo>
                <a:lnTo>
                  <a:pt x="197505" y="134440"/>
                </a:lnTo>
                <a:lnTo>
                  <a:pt x="197505" y="160663"/>
                </a:lnTo>
                <a:lnTo>
                  <a:pt x="85131" y="160663"/>
                </a:lnTo>
                <a:close/>
                <a:moveTo>
                  <a:pt x="184780" y="33581"/>
                </a:moveTo>
                <a:cubicBezTo>
                  <a:pt x="261578" y="34045"/>
                  <a:pt x="305265" y="121522"/>
                  <a:pt x="306050" y="165478"/>
                </a:cubicBezTo>
                <a:lnTo>
                  <a:pt x="306020" y="182421"/>
                </a:lnTo>
                <a:cubicBezTo>
                  <a:pt x="316588" y="182400"/>
                  <a:pt x="312726" y="182381"/>
                  <a:pt x="323294" y="182360"/>
                </a:cubicBezTo>
                <a:lnTo>
                  <a:pt x="323488" y="182529"/>
                </a:lnTo>
                <a:cubicBezTo>
                  <a:pt x="323620" y="182512"/>
                  <a:pt x="323752" y="182496"/>
                  <a:pt x="323884" y="182479"/>
                </a:cubicBezTo>
                <a:cubicBezTo>
                  <a:pt x="357589" y="182479"/>
                  <a:pt x="385710" y="206387"/>
                  <a:pt x="392213" y="238169"/>
                </a:cubicBezTo>
                <a:lnTo>
                  <a:pt x="393429" y="250233"/>
                </a:lnTo>
                <a:lnTo>
                  <a:pt x="393631" y="250276"/>
                </a:lnTo>
                <a:lnTo>
                  <a:pt x="393630" y="331260"/>
                </a:lnTo>
                <a:lnTo>
                  <a:pt x="344017" y="331260"/>
                </a:lnTo>
                <a:lnTo>
                  <a:pt x="184779" y="331260"/>
                </a:lnTo>
                <a:lnTo>
                  <a:pt x="184779" y="281647"/>
                </a:lnTo>
                <a:lnTo>
                  <a:pt x="343713" y="281647"/>
                </a:lnTo>
                <a:lnTo>
                  <a:pt x="343607" y="274792"/>
                </a:lnTo>
                <a:lnTo>
                  <a:pt x="343896" y="272497"/>
                </a:lnTo>
                <a:cubicBezTo>
                  <a:pt x="343896" y="252944"/>
                  <a:pt x="330026" y="236630"/>
                  <a:pt x="311588" y="232857"/>
                </a:cubicBezTo>
                <a:lnTo>
                  <a:pt x="306587" y="232353"/>
                </a:lnTo>
                <a:lnTo>
                  <a:pt x="306020" y="232034"/>
                </a:lnTo>
                <a:cubicBezTo>
                  <a:pt x="289483" y="232034"/>
                  <a:pt x="272945" y="232034"/>
                  <a:pt x="256407" y="232034"/>
                </a:cubicBezTo>
                <a:lnTo>
                  <a:pt x="256407" y="232034"/>
                </a:lnTo>
                <a:lnTo>
                  <a:pt x="256407" y="185664"/>
                </a:lnTo>
                <a:lnTo>
                  <a:pt x="256224" y="169895"/>
                </a:lnTo>
                <a:cubicBezTo>
                  <a:pt x="255813" y="119010"/>
                  <a:pt x="206943" y="83044"/>
                  <a:pt x="184780" y="82923"/>
                </a:cubicBezTo>
                <a:close/>
                <a:moveTo>
                  <a:pt x="0" y="0"/>
                </a:moveTo>
                <a:lnTo>
                  <a:pt x="159659" y="0"/>
                </a:lnTo>
                <a:lnTo>
                  <a:pt x="159659" y="49613"/>
                </a:lnTo>
                <a:lnTo>
                  <a:pt x="159237" y="49613"/>
                </a:lnTo>
                <a:lnTo>
                  <a:pt x="159237" y="110480"/>
                </a:lnTo>
                <a:lnTo>
                  <a:pt x="109624" y="110480"/>
                </a:lnTo>
                <a:lnTo>
                  <a:pt x="109624" y="49613"/>
                </a:lnTo>
                <a:lnTo>
                  <a:pt x="49613" y="49613"/>
                </a:lnTo>
                <a:lnTo>
                  <a:pt x="49613" y="281647"/>
                </a:lnTo>
                <a:lnTo>
                  <a:pt x="84708" y="281647"/>
                </a:lnTo>
                <a:lnTo>
                  <a:pt x="84708" y="331260"/>
                </a:lnTo>
                <a:lnTo>
                  <a:pt x="49613" y="331260"/>
                </a:lnTo>
                <a:lnTo>
                  <a:pt x="49613" y="331261"/>
                </a:lnTo>
                <a:lnTo>
                  <a:pt x="0" y="331261"/>
                </a:lnTo>
                <a:lnTo>
                  <a:pt x="0" y="496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40" name="Rectangle 39"/>
          <p:cNvSpPr/>
          <p:nvPr/>
        </p:nvSpPr>
        <p:spPr>
          <a:xfrm rot="16200000">
            <a:off x="-307381"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a:solidFill>
                  <a:schemeClr val="tx2">
                    <a:lumMod val="50000"/>
                  </a:schemeClr>
                </a:solidFill>
              </a:rPr>
              <a:t>Persistent </a:t>
            </a:r>
            <a:r>
              <a:rPr lang="en-US" sz="2800" dirty="0" smtClean="0">
                <a:solidFill>
                  <a:schemeClr val="tx2">
                    <a:lumMod val="50000"/>
                  </a:schemeClr>
                </a:solidFill>
              </a:rPr>
              <a:t/>
            </a:r>
            <a:br>
              <a:rPr lang="en-US" sz="2800" dirty="0" smtClean="0">
                <a:solidFill>
                  <a:schemeClr val="tx2">
                    <a:lumMod val="50000"/>
                  </a:schemeClr>
                </a:solidFill>
              </a:rPr>
            </a:br>
            <a:r>
              <a:rPr lang="en-US" sz="2800" dirty="0" smtClean="0">
                <a:solidFill>
                  <a:schemeClr val="tx2">
                    <a:lumMod val="50000"/>
                  </a:schemeClr>
                </a:solidFill>
              </a:rPr>
              <a:t>Windows </a:t>
            </a:r>
            <a:r>
              <a:rPr lang="en-US" sz="2800" dirty="0">
                <a:solidFill>
                  <a:schemeClr val="tx2">
                    <a:lumMod val="50000"/>
                  </a:schemeClr>
                </a:solidFill>
              </a:rPr>
              <a:t>or Linux</a:t>
            </a:r>
            <a:br>
              <a:rPr lang="en-US" sz="2800" dirty="0">
                <a:solidFill>
                  <a:schemeClr val="tx2">
                    <a:lumMod val="50000"/>
                  </a:schemeClr>
                </a:solidFill>
              </a:rPr>
            </a:br>
            <a:r>
              <a:rPr lang="en-US" sz="2800" dirty="0">
                <a:solidFill>
                  <a:schemeClr val="tx2">
                    <a:lumMod val="50000"/>
                  </a:schemeClr>
                </a:solidFill>
              </a:rPr>
              <a:t>Virtual Machines</a:t>
            </a:r>
          </a:p>
        </p:txBody>
      </p:sp>
      <p:sp>
        <p:nvSpPr>
          <p:cNvPr id="41" name="Rectangle 40"/>
          <p:cNvSpPr/>
          <p:nvPr/>
        </p:nvSpPr>
        <p:spPr>
          <a:xfrm rot="16200000">
            <a:off x="1557140"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smtClean="0">
                <a:solidFill>
                  <a:schemeClr val="tx2">
                    <a:lumMod val="50000"/>
                  </a:schemeClr>
                </a:solidFill>
              </a:rPr>
              <a:t>Scalable, Configurable</a:t>
            </a:r>
            <a:r>
              <a:rPr lang="en-US" sz="2800" dirty="0">
                <a:solidFill>
                  <a:schemeClr val="tx2">
                    <a:lumMod val="50000"/>
                  </a:schemeClr>
                </a:solidFill>
              </a:rPr>
              <a:t/>
            </a:r>
            <a:br>
              <a:rPr lang="en-US" sz="2800" dirty="0">
                <a:solidFill>
                  <a:schemeClr val="tx2">
                    <a:lumMod val="50000"/>
                  </a:schemeClr>
                </a:solidFill>
              </a:rPr>
            </a:br>
            <a:r>
              <a:rPr lang="en-US" sz="2800" dirty="0">
                <a:solidFill>
                  <a:schemeClr val="tx2">
                    <a:lumMod val="50000"/>
                  </a:schemeClr>
                </a:solidFill>
              </a:rPr>
              <a:t>Windows Server Instances </a:t>
            </a:r>
          </a:p>
        </p:txBody>
      </p:sp>
      <p:sp>
        <p:nvSpPr>
          <p:cNvPr id="42" name="Rectangle 41"/>
          <p:cNvSpPr/>
          <p:nvPr/>
        </p:nvSpPr>
        <p:spPr>
          <a:xfrm rot="16200000">
            <a:off x="3413073"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a:solidFill>
                  <a:schemeClr val="tx2">
                    <a:lumMod val="50000"/>
                  </a:schemeClr>
                </a:solidFill>
              </a:rPr>
              <a:t>Scalable Web </a:t>
            </a:r>
            <a:r>
              <a:rPr lang="en-US" sz="2800" dirty="0" smtClean="0">
                <a:solidFill>
                  <a:schemeClr val="tx2">
                    <a:lumMod val="50000"/>
                  </a:schemeClr>
                </a:solidFill>
              </a:rPr>
              <a:t>Sites. No OS </a:t>
            </a:r>
            <a:r>
              <a:rPr lang="en-US" sz="2800" dirty="0" err="1" smtClean="0">
                <a:solidFill>
                  <a:schemeClr val="tx2">
                    <a:lumMod val="50000"/>
                  </a:schemeClr>
                </a:solidFill>
              </a:rPr>
              <a:t>config</a:t>
            </a:r>
            <a:r>
              <a:rPr lang="en-US" sz="2800" dirty="0" smtClean="0">
                <a:solidFill>
                  <a:schemeClr val="tx2">
                    <a:lumMod val="50000"/>
                  </a:schemeClr>
                </a:solidFill>
              </a:rPr>
              <a:t> needed </a:t>
            </a:r>
            <a:endParaRPr lang="en-US" sz="2800" dirty="0">
              <a:solidFill>
                <a:schemeClr val="tx2">
                  <a:lumMod val="50000"/>
                </a:schemeClr>
              </a:solidFill>
            </a:endParaRPr>
          </a:p>
        </p:txBody>
      </p:sp>
      <p:sp>
        <p:nvSpPr>
          <p:cNvPr id="43" name="Rectangle 42"/>
          <p:cNvSpPr/>
          <p:nvPr/>
        </p:nvSpPr>
        <p:spPr>
          <a:xfrm rot="16200000">
            <a:off x="5269005"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smtClean="0">
                <a:solidFill>
                  <a:schemeClr val="tx2">
                    <a:lumMod val="50000"/>
                  </a:schemeClr>
                </a:solidFill>
              </a:rPr>
              <a:t>File (blob) storage, </a:t>
            </a:r>
            <a:br>
              <a:rPr lang="en-US" sz="2800" dirty="0" smtClean="0">
                <a:solidFill>
                  <a:schemeClr val="tx2">
                    <a:lumMod val="50000"/>
                  </a:schemeClr>
                </a:solidFill>
              </a:rPr>
            </a:br>
            <a:r>
              <a:rPr lang="en-US" sz="2800" dirty="0" smtClean="0">
                <a:solidFill>
                  <a:schemeClr val="tx2">
                    <a:lumMod val="50000"/>
                  </a:schemeClr>
                </a:solidFill>
              </a:rPr>
              <a:t>No-SQL </a:t>
            </a:r>
            <a:r>
              <a:rPr lang="en-US" sz="2800" dirty="0">
                <a:solidFill>
                  <a:schemeClr val="tx2">
                    <a:lumMod val="50000"/>
                  </a:schemeClr>
                </a:solidFill>
              </a:rPr>
              <a:t>Tables and </a:t>
            </a:r>
            <a:r>
              <a:rPr lang="en-US" sz="2800" dirty="0" smtClean="0">
                <a:solidFill>
                  <a:schemeClr val="tx2">
                    <a:lumMod val="50000"/>
                  </a:schemeClr>
                </a:solidFill>
              </a:rPr>
              <a:t>Queues </a:t>
            </a:r>
            <a:endParaRPr lang="en-US" sz="2800" dirty="0">
              <a:solidFill>
                <a:schemeClr val="tx2">
                  <a:lumMod val="50000"/>
                </a:schemeClr>
              </a:solidFill>
            </a:endParaRPr>
          </a:p>
        </p:txBody>
      </p:sp>
      <p:sp>
        <p:nvSpPr>
          <p:cNvPr id="44" name="Rectangle 43"/>
          <p:cNvSpPr/>
          <p:nvPr/>
        </p:nvSpPr>
        <p:spPr>
          <a:xfrm rot="16200000">
            <a:off x="7124937"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a:solidFill>
                  <a:schemeClr val="tx2">
                    <a:lumMod val="50000"/>
                  </a:schemeClr>
                </a:solidFill>
              </a:rPr>
              <a:t>Convenient, scalable</a:t>
            </a:r>
            <a:br>
              <a:rPr lang="en-US" sz="2800" dirty="0">
                <a:solidFill>
                  <a:schemeClr val="tx2">
                    <a:lumMod val="50000"/>
                  </a:schemeClr>
                </a:solidFill>
              </a:rPr>
            </a:br>
            <a:r>
              <a:rPr lang="en-US" sz="2800" dirty="0">
                <a:solidFill>
                  <a:schemeClr val="tx2">
                    <a:lumMod val="50000"/>
                  </a:schemeClr>
                </a:solidFill>
              </a:rPr>
              <a:t>SQL Databases</a:t>
            </a:r>
          </a:p>
        </p:txBody>
      </p:sp>
      <p:sp>
        <p:nvSpPr>
          <p:cNvPr id="45" name="Rectangle 44"/>
          <p:cNvSpPr/>
          <p:nvPr/>
        </p:nvSpPr>
        <p:spPr>
          <a:xfrm rot="16200000">
            <a:off x="8980869"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a:solidFill>
                  <a:schemeClr val="tx2">
                    <a:lumMod val="50000"/>
                  </a:schemeClr>
                </a:solidFill>
              </a:rPr>
              <a:t>Expand your services</a:t>
            </a:r>
            <a:br>
              <a:rPr lang="en-US" sz="2800" dirty="0">
                <a:solidFill>
                  <a:schemeClr val="tx2">
                    <a:lumMod val="50000"/>
                  </a:schemeClr>
                </a:solidFill>
              </a:rPr>
            </a:br>
            <a:r>
              <a:rPr lang="en-US" sz="2800" dirty="0">
                <a:solidFill>
                  <a:schemeClr val="tx2">
                    <a:lumMod val="50000"/>
                  </a:schemeClr>
                </a:solidFill>
              </a:rPr>
              <a:t>reach beyond the firewall</a:t>
            </a:r>
          </a:p>
        </p:txBody>
      </p:sp>
    </p:spTree>
    <p:extLst>
      <p:ext uri="{BB962C8B-B14F-4D97-AF65-F5344CB8AC3E}">
        <p14:creationId xmlns:p14="http://schemas.microsoft.com/office/powerpoint/2010/main" val="42207765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Web Services in Azure Web Sites</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3487589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3134783" y="1457140"/>
            <a:ext cx="8513242" cy="994357"/>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16" tIns="0" rIns="121816" bIns="0" numCol="1" rtlCol="0" anchor="ctr" anchorCtr="0" compatLnSpc="1">
            <a:prstTxWarp prst="textNoShape">
              <a:avLst/>
            </a:prstTxWarp>
          </a:bodyPr>
          <a:lstStyle/>
          <a:p>
            <a:pPr defTabSz="1218439" fontAlgn="base">
              <a:spcBef>
                <a:spcPct val="0"/>
              </a:spcBef>
              <a:spcAft>
                <a:spcPct val="0"/>
              </a:spcAft>
              <a:buClr>
                <a:srgbClr val="FFFF99"/>
              </a:buClr>
              <a:buSzPct val="120000"/>
              <a:defRPr/>
            </a:pPr>
            <a:r>
              <a:rPr lang="en-US" sz="5465" spc="-100" dirty="0">
                <a:ln w="3175">
                  <a:noFill/>
                </a:ln>
                <a:gradFill>
                  <a:gsLst>
                    <a:gs pos="0">
                      <a:srgbClr val="292929"/>
                    </a:gs>
                    <a:gs pos="100000">
                      <a:srgbClr val="292929"/>
                    </a:gs>
                  </a:gsLst>
                  <a:lin ang="5400000" scaled="0"/>
                </a:gradFill>
                <a:ea typeface="Segoe UI" pitchFamily="34" charset="0"/>
                <a:cs typeface="Segoe UI" pitchFamily="34" charset="0"/>
              </a:rPr>
              <a:t>Windows Azure Web Sites</a:t>
            </a:r>
            <a:endParaRPr lang="en-US" altLang="zh-CN" sz="5465" spc="-100" dirty="0">
              <a:ln w="3175">
                <a:noFill/>
              </a:ln>
              <a:gradFill>
                <a:gsLst>
                  <a:gs pos="0">
                    <a:srgbClr val="292929"/>
                  </a:gs>
                  <a:gs pos="100000">
                    <a:srgbClr val="292929"/>
                  </a:gs>
                </a:gsLst>
                <a:lin ang="5400000" scaled="0"/>
              </a:gradFill>
              <a:ea typeface="Segoe UI" pitchFamily="34" charset="0"/>
              <a:cs typeface="Segoe UI" pitchFamily="34" charset="0"/>
            </a:endParaRPr>
          </a:p>
        </p:txBody>
      </p:sp>
      <p:sp>
        <p:nvSpPr>
          <p:cNvPr id="6" name="Rectangle 5"/>
          <p:cNvSpPr/>
          <p:nvPr/>
        </p:nvSpPr>
        <p:spPr bwMode="auto">
          <a:xfrm>
            <a:off x="3134783" y="2400920"/>
            <a:ext cx="8513242" cy="53326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16" tIns="0" rIns="121816" bIns="0" numCol="1" rtlCol="0" anchor="t" anchorCtr="0" compatLnSpc="1">
            <a:prstTxWarp prst="textNoShape">
              <a:avLst/>
            </a:prstTxWarp>
          </a:bodyPr>
          <a:lstStyle/>
          <a:p>
            <a:pPr defTabSz="1218439" fontAlgn="base">
              <a:spcBef>
                <a:spcPct val="0"/>
              </a:spcBef>
              <a:spcAft>
                <a:spcPct val="0"/>
              </a:spcAft>
              <a:buClr>
                <a:srgbClr val="FFFF99"/>
              </a:buClr>
              <a:buSzPct val="120000"/>
              <a:defRPr/>
            </a:pPr>
            <a:r>
              <a:rPr lang="en-US" sz="3599" spc="-100" dirty="0">
                <a:ln w="3175">
                  <a:noFill/>
                </a:ln>
                <a:gradFill>
                  <a:gsLst>
                    <a:gs pos="0">
                      <a:srgbClr val="292929"/>
                    </a:gs>
                    <a:gs pos="100000">
                      <a:srgbClr val="292929"/>
                    </a:gs>
                  </a:gsLst>
                  <a:lin ang="5400000" scaled="0"/>
                </a:gradFill>
                <a:ea typeface="Segoe UI" pitchFamily="34" charset="0"/>
                <a:cs typeface="Segoe UI" pitchFamily="34" charset="0"/>
              </a:rPr>
              <a:t> powerful web sites in seconds</a:t>
            </a:r>
            <a:endParaRPr lang="en-US" altLang="zh-CN" sz="3599" spc="-100" dirty="0">
              <a:ln w="3175">
                <a:noFill/>
              </a:ln>
              <a:gradFill>
                <a:gsLst>
                  <a:gs pos="0">
                    <a:srgbClr val="292929"/>
                  </a:gs>
                  <a:gs pos="100000">
                    <a:srgbClr val="292929"/>
                  </a:gs>
                </a:gsLst>
                <a:lin ang="5400000" scaled="0"/>
              </a:gradFill>
              <a:ea typeface="Segoe UI" pitchFamily="34" charset="0"/>
              <a:cs typeface="Segoe UI" pitchFamily="34" charset="0"/>
            </a:endParaRPr>
          </a:p>
        </p:txBody>
      </p:sp>
      <p:grpSp>
        <p:nvGrpSpPr>
          <p:cNvPr id="18" name="Group 17"/>
          <p:cNvGrpSpPr/>
          <p:nvPr/>
        </p:nvGrpSpPr>
        <p:grpSpPr>
          <a:xfrm>
            <a:off x="337132" y="4318826"/>
            <a:ext cx="3777669" cy="2364521"/>
            <a:chOff x="335543" y="3872726"/>
            <a:chExt cx="3777669" cy="2365137"/>
          </a:xfrm>
        </p:grpSpPr>
        <p:sp>
          <p:nvSpPr>
            <p:cNvPr id="2" name="Rectangle 1"/>
            <p:cNvSpPr/>
            <p:nvPr/>
          </p:nvSpPr>
          <p:spPr bwMode="auto">
            <a:xfrm>
              <a:off x="335543" y="3872727"/>
              <a:ext cx="3777669" cy="88380"/>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dirty="0" err="1">
                <a:gradFill>
                  <a:gsLst>
                    <a:gs pos="0">
                      <a:srgbClr val="292929"/>
                    </a:gs>
                    <a:gs pos="100000">
                      <a:srgbClr val="292929"/>
                    </a:gs>
                  </a:gsLst>
                  <a:lin ang="5400000" scaled="0"/>
                </a:gradFill>
              </a:endParaRPr>
            </a:p>
          </p:txBody>
        </p:sp>
        <p:sp>
          <p:nvSpPr>
            <p:cNvPr id="7" name="Rectangle 6"/>
            <p:cNvSpPr/>
            <p:nvPr/>
          </p:nvSpPr>
          <p:spPr bwMode="auto">
            <a:xfrm>
              <a:off x="335543" y="3872726"/>
              <a:ext cx="3777669" cy="9946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defTabSz="913878" fontAlgn="base">
                <a:spcBef>
                  <a:spcPct val="0"/>
                </a:spcBef>
                <a:spcAft>
                  <a:spcPct val="0"/>
                </a:spcAft>
              </a:pPr>
              <a:r>
                <a:rPr lang="en-US" sz="3599" dirty="0">
                  <a:gradFill>
                    <a:gsLst>
                      <a:gs pos="0">
                        <a:srgbClr val="292929"/>
                      </a:gs>
                      <a:gs pos="100000">
                        <a:srgbClr val="292929"/>
                      </a:gs>
                    </a:gsLst>
                    <a:lin ang="5400000" scaled="0"/>
                  </a:gradFill>
                </a:rPr>
                <a:t>start simple</a:t>
              </a:r>
              <a:endParaRPr lang="en-US" altLang="zh-CN" sz="3599" dirty="0">
                <a:gradFill>
                  <a:gsLst>
                    <a:gs pos="0">
                      <a:srgbClr val="292929"/>
                    </a:gs>
                    <a:gs pos="100000">
                      <a:srgbClr val="292929"/>
                    </a:gs>
                  </a:gsLst>
                  <a:lin ang="5400000" scaled="0"/>
                </a:gradFill>
              </a:endParaRPr>
            </a:p>
          </p:txBody>
        </p:sp>
        <p:sp>
          <p:nvSpPr>
            <p:cNvPr id="8" name="Rectangle 7"/>
            <p:cNvSpPr/>
            <p:nvPr/>
          </p:nvSpPr>
          <p:spPr bwMode="auto">
            <a:xfrm>
              <a:off x="335543" y="4811570"/>
              <a:ext cx="3572428" cy="14262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t" anchorCtr="0" compatLnSpc="1">
              <a:prstTxWarp prst="textNoShape">
                <a:avLst/>
              </a:prstTxWarp>
            </a:bodyPr>
            <a:lstStyle/>
            <a:p>
              <a:pPr defTabSz="913878" fontAlgn="base">
                <a:spcBef>
                  <a:spcPct val="0"/>
                </a:spcBef>
                <a:spcAft>
                  <a:spcPct val="0"/>
                </a:spcAft>
              </a:pPr>
              <a:r>
                <a:rPr lang="en-US" sz="2000" dirty="0">
                  <a:gradFill>
                    <a:gsLst>
                      <a:gs pos="0">
                        <a:srgbClr val="292929"/>
                      </a:gs>
                      <a:gs pos="100000">
                        <a:srgbClr val="292929"/>
                      </a:gs>
                    </a:gsLst>
                    <a:lin ang="5400000" scaled="0"/>
                  </a:gradFill>
                </a:rPr>
                <a:t>start free, scale up and out as you go, friction-free and without the headaches</a:t>
              </a:r>
              <a:endParaRPr lang="en-US" altLang="zh-CN" sz="2000" dirty="0">
                <a:gradFill>
                  <a:gsLst>
                    <a:gs pos="0">
                      <a:srgbClr val="292929"/>
                    </a:gs>
                    <a:gs pos="100000">
                      <a:srgbClr val="292929"/>
                    </a:gs>
                  </a:gsLst>
                  <a:lin ang="5400000" scaled="0"/>
                </a:gradFill>
              </a:endParaRPr>
            </a:p>
          </p:txBody>
        </p:sp>
      </p:grpSp>
      <p:grpSp>
        <p:nvGrpSpPr>
          <p:cNvPr id="19" name="Group 18"/>
          <p:cNvGrpSpPr/>
          <p:nvPr/>
        </p:nvGrpSpPr>
        <p:grpSpPr>
          <a:xfrm>
            <a:off x="4207167" y="4318820"/>
            <a:ext cx="3777669" cy="2370956"/>
            <a:chOff x="4205578" y="3872726"/>
            <a:chExt cx="3777669" cy="2371573"/>
          </a:xfrm>
        </p:grpSpPr>
        <p:sp>
          <p:nvSpPr>
            <p:cNvPr id="14" name="Rectangle 13"/>
            <p:cNvSpPr/>
            <p:nvPr/>
          </p:nvSpPr>
          <p:spPr bwMode="auto">
            <a:xfrm>
              <a:off x="4205578" y="3872726"/>
              <a:ext cx="3777669" cy="883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878" fontAlgn="base">
                <a:spcBef>
                  <a:spcPct val="0"/>
                </a:spcBef>
                <a:spcAft>
                  <a:spcPct val="0"/>
                </a:spcAft>
              </a:pPr>
              <a:endParaRPr lang="en-US" sz="2399" dirty="0" err="1">
                <a:gradFill>
                  <a:gsLst>
                    <a:gs pos="0">
                      <a:srgbClr val="292929"/>
                    </a:gs>
                    <a:gs pos="100000">
                      <a:srgbClr val="292929"/>
                    </a:gs>
                  </a:gsLst>
                  <a:lin ang="5400000" scaled="0"/>
                </a:gradFill>
                <a:ea typeface="Segoe UI" pitchFamily="34" charset="0"/>
                <a:cs typeface="Segoe UI" pitchFamily="34" charset="0"/>
              </a:endParaRPr>
            </a:p>
          </p:txBody>
        </p:sp>
        <p:sp>
          <p:nvSpPr>
            <p:cNvPr id="9" name="Rectangle 8"/>
            <p:cNvSpPr/>
            <p:nvPr/>
          </p:nvSpPr>
          <p:spPr bwMode="auto">
            <a:xfrm>
              <a:off x="4205578" y="3872726"/>
              <a:ext cx="3777669"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ctr" anchorCtr="0" compatLnSpc="1">
              <a:prstTxWarp prst="textNoShape">
                <a:avLst/>
              </a:prstTxWarp>
            </a:bodyPr>
            <a:lstStyle/>
            <a:p>
              <a:pPr defTabSz="913878" fontAlgn="base">
                <a:spcBef>
                  <a:spcPct val="0"/>
                </a:spcBef>
                <a:spcAft>
                  <a:spcPct val="0"/>
                </a:spcAft>
                <a:buClr>
                  <a:srgbClr val="FFFF99"/>
                </a:buClr>
                <a:buSzPct val="120000"/>
                <a:defRPr/>
              </a:pPr>
              <a:r>
                <a:rPr lang="en-US" sz="3599" dirty="0">
                  <a:gradFill>
                    <a:gsLst>
                      <a:gs pos="0">
                        <a:srgbClr val="292929"/>
                      </a:gs>
                      <a:gs pos="100000">
                        <a:srgbClr val="292929"/>
                      </a:gs>
                    </a:gsLst>
                    <a:lin ang="5400000" scaled="0"/>
                  </a:gradFill>
                </a:rPr>
                <a:t>code smart</a:t>
              </a:r>
              <a:endParaRPr lang="en-US" altLang="zh-CN" sz="3599" dirty="0">
                <a:gradFill>
                  <a:gsLst>
                    <a:gs pos="0">
                      <a:srgbClr val="292929"/>
                    </a:gs>
                    <a:gs pos="100000">
                      <a:srgbClr val="292929"/>
                    </a:gs>
                  </a:gsLst>
                  <a:lin ang="5400000" scaled="0"/>
                </a:gradFill>
              </a:endParaRPr>
            </a:p>
          </p:txBody>
        </p:sp>
        <p:sp>
          <p:nvSpPr>
            <p:cNvPr id="11" name="Rectangle 10"/>
            <p:cNvSpPr/>
            <p:nvPr/>
          </p:nvSpPr>
          <p:spPr bwMode="auto">
            <a:xfrm>
              <a:off x="4205578" y="4818006"/>
              <a:ext cx="3621251"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t" anchorCtr="0" compatLnSpc="1">
              <a:prstTxWarp prst="textNoShape">
                <a:avLst/>
              </a:prstTxWarp>
            </a:bodyPr>
            <a:lstStyle/>
            <a:p>
              <a:pPr defTabSz="913878" fontAlgn="base">
                <a:spcBef>
                  <a:spcPct val="0"/>
                </a:spcBef>
                <a:spcAft>
                  <a:spcPct val="0"/>
                </a:spcAft>
                <a:buClr>
                  <a:srgbClr val="FFFF99"/>
                </a:buClr>
                <a:buSzPct val="120000"/>
                <a:defRPr/>
              </a:pPr>
              <a:r>
                <a:rPr lang="en-US" sz="2000" dirty="0">
                  <a:gradFill>
                    <a:gsLst>
                      <a:gs pos="0">
                        <a:srgbClr val="292929"/>
                      </a:gs>
                      <a:gs pos="100000">
                        <a:srgbClr val="292929"/>
                      </a:gs>
                    </a:gsLst>
                    <a:lin ang="5400000" scaled="0"/>
                  </a:gradFill>
                </a:rPr>
                <a:t>with classic asp, asp.net, </a:t>
              </a:r>
              <a:r>
                <a:rPr lang="en-US" sz="2000" dirty="0" err="1">
                  <a:gradFill>
                    <a:gsLst>
                      <a:gs pos="0">
                        <a:srgbClr val="292929"/>
                      </a:gs>
                      <a:gs pos="100000">
                        <a:srgbClr val="292929"/>
                      </a:gs>
                    </a:gsLst>
                    <a:lin ang="5400000" scaled="0"/>
                  </a:gradFill>
                </a:rPr>
                <a:t>php</a:t>
              </a:r>
              <a:r>
                <a:rPr lang="en-US" sz="2000" dirty="0">
                  <a:gradFill>
                    <a:gsLst>
                      <a:gs pos="0">
                        <a:srgbClr val="292929"/>
                      </a:gs>
                      <a:gs pos="100000">
                        <a:srgbClr val="292929"/>
                      </a:gs>
                    </a:gsLst>
                    <a:lin ang="5400000" scaled="0"/>
                  </a:gradFill>
                </a:rPr>
                <a:t> or node.js, develop on Windows, OSX or Linux</a:t>
              </a:r>
              <a:endParaRPr lang="en-US" altLang="zh-CN" sz="2000" dirty="0">
                <a:gradFill>
                  <a:gsLst>
                    <a:gs pos="0">
                      <a:srgbClr val="292929"/>
                    </a:gs>
                    <a:gs pos="100000">
                      <a:srgbClr val="292929"/>
                    </a:gs>
                  </a:gsLst>
                  <a:lin ang="5400000" scaled="0"/>
                </a:gradFill>
              </a:endParaRPr>
            </a:p>
          </p:txBody>
        </p:sp>
      </p:grpSp>
      <p:grpSp>
        <p:nvGrpSpPr>
          <p:cNvPr id="20" name="Group 19"/>
          <p:cNvGrpSpPr/>
          <p:nvPr/>
        </p:nvGrpSpPr>
        <p:grpSpPr>
          <a:xfrm>
            <a:off x="8077201" y="4318825"/>
            <a:ext cx="3855130" cy="2375404"/>
            <a:chOff x="8075613" y="3872726"/>
            <a:chExt cx="3855130" cy="2376022"/>
          </a:xfrm>
        </p:grpSpPr>
        <p:sp>
          <p:nvSpPr>
            <p:cNvPr id="15" name="Rectangle 14"/>
            <p:cNvSpPr/>
            <p:nvPr/>
          </p:nvSpPr>
          <p:spPr bwMode="auto">
            <a:xfrm>
              <a:off x="8075613" y="3872726"/>
              <a:ext cx="3777669" cy="88381"/>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878" fontAlgn="base">
                <a:spcBef>
                  <a:spcPct val="0"/>
                </a:spcBef>
                <a:spcAft>
                  <a:spcPct val="0"/>
                </a:spcAft>
              </a:pPr>
              <a:endParaRPr lang="en-US" sz="2399" dirty="0" err="1">
                <a:gradFill>
                  <a:gsLst>
                    <a:gs pos="0">
                      <a:srgbClr val="292929"/>
                    </a:gs>
                    <a:gs pos="100000">
                      <a:srgbClr val="292929"/>
                    </a:gs>
                  </a:gsLst>
                  <a:lin ang="5400000" scaled="0"/>
                </a:gradFill>
                <a:ea typeface="Segoe UI" pitchFamily="34" charset="0"/>
                <a:cs typeface="Segoe UI" pitchFamily="34" charset="0"/>
              </a:endParaRPr>
            </a:p>
          </p:txBody>
        </p:sp>
        <p:sp>
          <p:nvSpPr>
            <p:cNvPr id="10" name="Rectangle 9"/>
            <p:cNvSpPr/>
            <p:nvPr/>
          </p:nvSpPr>
          <p:spPr bwMode="auto">
            <a:xfrm>
              <a:off x="8075613" y="3872726"/>
              <a:ext cx="3777669"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ctr" anchorCtr="0" compatLnSpc="1">
              <a:prstTxWarp prst="textNoShape">
                <a:avLst/>
              </a:prstTxWarp>
            </a:bodyPr>
            <a:lstStyle/>
            <a:p>
              <a:pPr defTabSz="913878" fontAlgn="base">
                <a:spcBef>
                  <a:spcPct val="0"/>
                </a:spcBef>
                <a:spcAft>
                  <a:spcPct val="0"/>
                </a:spcAft>
                <a:buClr>
                  <a:srgbClr val="FFFF99"/>
                </a:buClr>
                <a:buSzPct val="120000"/>
                <a:defRPr/>
              </a:pPr>
              <a:r>
                <a:rPr lang="en-US" sz="3599" dirty="0">
                  <a:gradFill>
                    <a:gsLst>
                      <a:gs pos="0">
                        <a:srgbClr val="292929"/>
                      </a:gs>
                      <a:gs pos="100000">
                        <a:srgbClr val="292929"/>
                      </a:gs>
                    </a:gsLst>
                    <a:lin ang="5400000" scaled="0"/>
                  </a:gradFill>
                </a:rPr>
                <a:t>go live</a:t>
              </a:r>
              <a:endParaRPr lang="en-US" altLang="zh-CN" sz="3599" dirty="0">
                <a:gradFill>
                  <a:gsLst>
                    <a:gs pos="0">
                      <a:srgbClr val="292929"/>
                    </a:gs>
                    <a:gs pos="100000">
                      <a:srgbClr val="292929"/>
                    </a:gs>
                  </a:gsLst>
                  <a:lin ang="5400000" scaled="0"/>
                </a:gradFill>
              </a:endParaRPr>
            </a:p>
          </p:txBody>
        </p:sp>
        <p:sp>
          <p:nvSpPr>
            <p:cNvPr id="16" name="Rectangle 15"/>
            <p:cNvSpPr/>
            <p:nvPr/>
          </p:nvSpPr>
          <p:spPr bwMode="auto">
            <a:xfrm>
              <a:off x="8075613" y="4822455"/>
              <a:ext cx="3855130"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t" anchorCtr="0" compatLnSpc="1">
              <a:prstTxWarp prst="textNoShape">
                <a:avLst/>
              </a:prstTxWarp>
            </a:bodyPr>
            <a:lstStyle/>
            <a:p>
              <a:pPr defTabSz="1218439" fontAlgn="base">
                <a:spcBef>
                  <a:spcPct val="0"/>
                </a:spcBef>
                <a:spcAft>
                  <a:spcPct val="0"/>
                </a:spcAft>
                <a:buClr>
                  <a:srgbClr val="FFFF99"/>
                </a:buClr>
                <a:buSzPct val="120000"/>
                <a:defRPr/>
              </a:pPr>
              <a:r>
                <a:rPr lang="en-US" sz="2000" dirty="0">
                  <a:gradFill>
                    <a:gsLst>
                      <a:gs pos="0">
                        <a:srgbClr val="292929"/>
                      </a:gs>
                      <a:gs pos="100000">
                        <a:srgbClr val="292929"/>
                      </a:gs>
                    </a:gsLst>
                    <a:lin ang="5400000" scaled="0"/>
                  </a:gradFill>
                </a:rPr>
                <a:t>deploy live in seconds, easily monitor performance, rapidly diagnose and fix issues</a:t>
              </a:r>
              <a:endParaRPr lang="en-US" altLang="zh-CN" sz="2000" dirty="0">
                <a:gradFill>
                  <a:gsLst>
                    <a:gs pos="0">
                      <a:srgbClr val="292929"/>
                    </a:gs>
                    <a:gs pos="100000">
                      <a:srgbClr val="292929"/>
                    </a:gs>
                  </a:gsLst>
                  <a:lin ang="5400000" scaled="0"/>
                </a:gradFill>
              </a:endParaRPr>
            </a:p>
          </p:txBody>
        </p:sp>
      </p:grpSp>
      <p:sp>
        <p:nvSpPr>
          <p:cNvPr id="21" name="Web Sites Icon"/>
          <p:cNvSpPr>
            <a:spLocks noChangeAspect="1"/>
          </p:cNvSpPr>
          <p:nvPr/>
        </p:nvSpPr>
        <p:spPr>
          <a:xfrm>
            <a:off x="359044" y="970752"/>
            <a:ext cx="2510885" cy="2510885"/>
          </a:xfrm>
          <a:custGeom>
            <a:avLst/>
            <a:gdLst/>
            <a:ahLst/>
            <a:cxnLst/>
            <a:rect l="l" t="t" r="r" b="b"/>
            <a:pathLst>
              <a:path w="2610712" h="2610712">
                <a:moveTo>
                  <a:pt x="900132" y="1659508"/>
                </a:moveTo>
                <a:cubicBezTo>
                  <a:pt x="850489" y="1680441"/>
                  <a:pt x="795925" y="1691910"/>
                  <a:pt x="738682" y="1691910"/>
                </a:cubicBezTo>
                <a:cubicBezTo>
                  <a:pt x="704580" y="1691910"/>
                  <a:pt x="671429" y="1687840"/>
                  <a:pt x="639972" y="1678984"/>
                </a:cubicBezTo>
                <a:cubicBezTo>
                  <a:pt x="630802" y="1732731"/>
                  <a:pt x="626539" y="1787737"/>
                  <a:pt x="626539" y="1843600"/>
                </a:cubicBezTo>
                <a:cubicBezTo>
                  <a:pt x="626539" y="1980151"/>
                  <a:pt x="652007" y="2111581"/>
                  <a:pt x="702051" y="2233347"/>
                </a:cubicBezTo>
                <a:cubicBezTo>
                  <a:pt x="875300" y="2347094"/>
                  <a:pt x="1082651" y="2412830"/>
                  <a:pt x="1305356" y="2412830"/>
                </a:cubicBezTo>
                <a:cubicBezTo>
                  <a:pt x="1649176" y="2412830"/>
                  <a:pt x="1956402" y="2256154"/>
                  <a:pt x="2159509" y="2010283"/>
                </a:cubicBezTo>
                <a:cubicBezTo>
                  <a:pt x="2111204" y="2014741"/>
                  <a:pt x="2062255" y="2016547"/>
                  <a:pt x="2012815" y="2016547"/>
                </a:cubicBezTo>
                <a:cubicBezTo>
                  <a:pt x="1920488" y="2016547"/>
                  <a:pt x="1829870" y="2010248"/>
                  <a:pt x="1741816" y="1995896"/>
                </a:cubicBezTo>
                <a:cubicBezTo>
                  <a:pt x="1697066" y="2053279"/>
                  <a:pt x="1627112" y="2089547"/>
                  <a:pt x="1548687" y="2089547"/>
                </a:cubicBezTo>
                <a:cubicBezTo>
                  <a:pt x="1425687" y="2089547"/>
                  <a:pt x="1323524" y="2000335"/>
                  <a:pt x="1304035" y="1882972"/>
                </a:cubicBezTo>
                <a:cubicBezTo>
                  <a:pt x="1156203" y="1826416"/>
                  <a:pt x="1020119" y="1751039"/>
                  <a:pt x="900132" y="1659508"/>
                </a:cubicBezTo>
                <a:close/>
                <a:moveTo>
                  <a:pt x="326784" y="787357"/>
                </a:moveTo>
                <a:cubicBezTo>
                  <a:pt x="244341" y="941756"/>
                  <a:pt x="197882" y="1118130"/>
                  <a:pt x="197882" y="1305356"/>
                </a:cubicBezTo>
                <a:cubicBezTo>
                  <a:pt x="197882" y="1524075"/>
                  <a:pt x="261286" y="1727986"/>
                  <a:pt x="371590" y="1899154"/>
                </a:cubicBezTo>
                <a:cubicBezTo>
                  <a:pt x="367754" y="1880810"/>
                  <a:pt x="367351" y="1862246"/>
                  <a:pt x="367351" y="1843600"/>
                </a:cubicBezTo>
                <a:cubicBezTo>
                  <a:pt x="367351" y="1734956"/>
                  <a:pt x="381029" y="1629062"/>
                  <a:pt x="407760" y="1527398"/>
                </a:cubicBezTo>
                <a:cubicBezTo>
                  <a:pt x="351809" y="1457631"/>
                  <a:pt x="319328" y="1368887"/>
                  <a:pt x="319328" y="1272556"/>
                </a:cubicBezTo>
                <a:cubicBezTo>
                  <a:pt x="319328" y="1180502"/>
                  <a:pt x="348989" y="1095376"/>
                  <a:pt x="400195" y="1026883"/>
                </a:cubicBezTo>
                <a:cubicBezTo>
                  <a:pt x="367473" y="950052"/>
                  <a:pt x="342803" y="869972"/>
                  <a:pt x="326784" y="787357"/>
                </a:cubicBezTo>
                <a:close/>
                <a:moveTo>
                  <a:pt x="1358809" y="759796"/>
                </a:moveTo>
                <a:cubicBezTo>
                  <a:pt x="1239078" y="818380"/>
                  <a:pt x="1130049" y="891267"/>
                  <a:pt x="1035634" y="976541"/>
                </a:cubicBezTo>
                <a:cubicBezTo>
                  <a:pt x="1111291" y="1052347"/>
                  <a:pt x="1158036" y="1156993"/>
                  <a:pt x="1158036" y="1272556"/>
                </a:cubicBezTo>
                <a:cubicBezTo>
                  <a:pt x="1158036" y="1358206"/>
                  <a:pt x="1132359" y="1437859"/>
                  <a:pt x="1088022" y="1504063"/>
                </a:cubicBezTo>
                <a:cubicBezTo>
                  <a:pt x="1174051" y="1568324"/>
                  <a:pt x="1270034" y="1622103"/>
                  <a:pt x="1373719" y="1663750"/>
                </a:cubicBezTo>
                <a:cubicBezTo>
                  <a:pt x="1418598" y="1619175"/>
                  <a:pt x="1480435" y="1591705"/>
                  <a:pt x="1548687" y="1591705"/>
                </a:cubicBezTo>
                <a:cubicBezTo>
                  <a:pt x="1664038" y="1591705"/>
                  <a:pt x="1761064" y="1670167"/>
                  <a:pt x="1788338" y="1776889"/>
                </a:cubicBezTo>
                <a:cubicBezTo>
                  <a:pt x="1861345" y="1788370"/>
                  <a:pt x="1936390" y="1793457"/>
                  <a:pt x="2012815" y="1793457"/>
                </a:cubicBezTo>
                <a:cubicBezTo>
                  <a:pt x="2115398" y="1793457"/>
                  <a:pt x="2215494" y="1784292"/>
                  <a:pt x="2311784" y="1765530"/>
                </a:cubicBezTo>
                <a:cubicBezTo>
                  <a:pt x="2333378" y="1721025"/>
                  <a:pt x="2351048" y="1674444"/>
                  <a:pt x="2365177" y="1626375"/>
                </a:cubicBezTo>
                <a:lnTo>
                  <a:pt x="2202628" y="1494320"/>
                </a:lnTo>
                <a:cubicBezTo>
                  <a:pt x="2146093" y="1541780"/>
                  <a:pt x="2073019" y="1569480"/>
                  <a:pt x="1993476" y="1569480"/>
                </a:cubicBezTo>
                <a:cubicBezTo>
                  <a:pt x="1808307" y="1569480"/>
                  <a:pt x="1658197" y="1419370"/>
                  <a:pt x="1658197" y="1234201"/>
                </a:cubicBezTo>
                <a:cubicBezTo>
                  <a:pt x="1658197" y="1173835"/>
                  <a:pt x="1674151" y="1117195"/>
                  <a:pt x="1703372" y="1069009"/>
                </a:cubicBezTo>
                <a:cubicBezTo>
                  <a:pt x="1579585" y="960620"/>
                  <a:pt x="1465000" y="856910"/>
                  <a:pt x="1358809" y="759796"/>
                </a:cubicBezTo>
                <a:close/>
                <a:moveTo>
                  <a:pt x="2077117" y="595048"/>
                </a:moveTo>
                <a:cubicBezTo>
                  <a:pt x="1893185" y="595048"/>
                  <a:pt x="1717247" y="624514"/>
                  <a:pt x="1555753" y="679536"/>
                </a:cubicBezTo>
                <a:cubicBezTo>
                  <a:pt x="1646868" y="763770"/>
                  <a:pt x="1742881" y="850965"/>
                  <a:pt x="1840379" y="937533"/>
                </a:cubicBezTo>
                <a:cubicBezTo>
                  <a:pt x="1885750" y="912375"/>
                  <a:pt x="1938042" y="898922"/>
                  <a:pt x="1993476" y="898922"/>
                </a:cubicBezTo>
                <a:cubicBezTo>
                  <a:pt x="2178645" y="898922"/>
                  <a:pt x="2328755" y="1049032"/>
                  <a:pt x="2328755" y="1234201"/>
                </a:cubicBezTo>
                <a:cubicBezTo>
                  <a:pt x="2328755" y="1272990"/>
                  <a:pt x="2322168" y="1310240"/>
                  <a:pt x="2308704" y="1344423"/>
                </a:cubicBezTo>
                <a:lnTo>
                  <a:pt x="2406112" y="1425145"/>
                </a:lnTo>
                <a:cubicBezTo>
                  <a:pt x="2410658" y="1385818"/>
                  <a:pt x="2412830" y="1345841"/>
                  <a:pt x="2412830" y="1305356"/>
                </a:cubicBezTo>
                <a:cubicBezTo>
                  <a:pt x="2412830" y="1036563"/>
                  <a:pt x="2317071" y="790135"/>
                  <a:pt x="2157688" y="598425"/>
                </a:cubicBezTo>
                <a:cubicBezTo>
                  <a:pt x="2131065" y="595686"/>
                  <a:pt x="2104177" y="595048"/>
                  <a:pt x="2077117" y="595048"/>
                </a:cubicBezTo>
                <a:close/>
                <a:moveTo>
                  <a:pt x="850619" y="296309"/>
                </a:moveTo>
                <a:cubicBezTo>
                  <a:pt x="745920" y="342505"/>
                  <a:pt x="650219" y="405265"/>
                  <a:pt x="566952" y="481629"/>
                </a:cubicBezTo>
                <a:cubicBezTo>
                  <a:pt x="562856" y="502474"/>
                  <a:pt x="562237" y="523628"/>
                  <a:pt x="562237" y="544906"/>
                </a:cubicBezTo>
                <a:cubicBezTo>
                  <a:pt x="562237" y="658977"/>
                  <a:pt x="580010" y="769475"/>
                  <a:pt x="614749" y="873958"/>
                </a:cubicBezTo>
                <a:cubicBezTo>
                  <a:pt x="653488" y="859785"/>
                  <a:pt x="695317" y="853202"/>
                  <a:pt x="738682" y="853202"/>
                </a:cubicBezTo>
                <a:lnTo>
                  <a:pt x="809682" y="860360"/>
                </a:lnTo>
                <a:cubicBezTo>
                  <a:pt x="915604" y="755988"/>
                  <a:pt x="1040099" y="666686"/>
                  <a:pt x="1177617" y="593776"/>
                </a:cubicBezTo>
                <a:cubicBezTo>
                  <a:pt x="1055870" y="481736"/>
                  <a:pt x="947131" y="381614"/>
                  <a:pt x="850619" y="296309"/>
                </a:cubicBezTo>
                <a:close/>
                <a:moveTo>
                  <a:pt x="1305356" y="197882"/>
                </a:moveTo>
                <a:cubicBezTo>
                  <a:pt x="1228261" y="197882"/>
                  <a:pt x="1153005" y="205760"/>
                  <a:pt x="1080369" y="220843"/>
                </a:cubicBezTo>
                <a:cubicBezTo>
                  <a:pt x="1155718" y="299808"/>
                  <a:pt x="1255185" y="397466"/>
                  <a:pt x="1368946" y="505293"/>
                </a:cubicBezTo>
                <a:cubicBezTo>
                  <a:pt x="1536969" y="438118"/>
                  <a:pt x="1719963" y="394608"/>
                  <a:pt x="1912410" y="379643"/>
                </a:cubicBezTo>
                <a:cubicBezTo>
                  <a:pt x="1738338" y="264549"/>
                  <a:pt x="1529632" y="197882"/>
                  <a:pt x="1305356" y="197882"/>
                </a:cubicBezTo>
                <a:close/>
                <a:moveTo>
                  <a:pt x="1305356" y="0"/>
                </a:moveTo>
                <a:cubicBezTo>
                  <a:pt x="2026284" y="0"/>
                  <a:pt x="2610712" y="584428"/>
                  <a:pt x="2610712" y="1305356"/>
                </a:cubicBezTo>
                <a:cubicBezTo>
                  <a:pt x="2610712" y="2026284"/>
                  <a:pt x="2026284" y="2610712"/>
                  <a:pt x="1305356" y="2610712"/>
                </a:cubicBezTo>
                <a:cubicBezTo>
                  <a:pt x="584428" y="2610712"/>
                  <a:pt x="0" y="2026284"/>
                  <a:pt x="0" y="1305356"/>
                </a:cubicBezTo>
                <a:cubicBezTo>
                  <a:pt x="0" y="584428"/>
                  <a:pt x="584428" y="0"/>
                  <a:pt x="13053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Tree>
    <p:extLst>
      <p:ext uri="{BB962C8B-B14F-4D97-AF65-F5344CB8AC3E}">
        <p14:creationId xmlns:p14="http://schemas.microsoft.com/office/powerpoint/2010/main" val="38519705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theme1.xml><?xml version="1.0" encoding="utf-8"?>
<a:theme xmlns:a="http://schemas.openxmlformats.org/drawingml/2006/main" name="1_Office Theme">
  <a:themeElements>
    <a:clrScheme name="MVA Color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VA Fonts">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VA-CourseTemplate-1.pptx" id="{44F1D109-0D62-4C50-A3FF-AB64ABB72DAD}" vid="{29F46DDF-BD45-4956-8C98-398EB1CD161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77C1942F61CC445966EF0B72456FB71" ma:contentTypeVersion="5" ma:contentTypeDescription="Create a new document." ma:contentTypeScope="" ma:versionID="5421a2b3915c7c9b88cb078d9907b3f4">
  <xsd:schema xmlns:xsd="http://www.w3.org/2001/XMLSchema" xmlns:xs="http://www.w3.org/2001/XMLSchema" xmlns:p="http://schemas.microsoft.com/office/2006/metadata/properties" xmlns:ns2="230e9df3-be65-4c73-a93b-d1236ebd677e" xmlns:ns3="9144449b-ba5a-4612-98a9-381e907e54b6" targetNamespace="http://schemas.microsoft.com/office/2006/metadata/properties" ma:root="true" ma:fieldsID="c375f00a2d990dcf3e2772267a56beac" ns2:_="" ns3:_="">
    <xsd:import namespace="230e9df3-be65-4c73-a93b-d1236ebd677e"/>
    <xsd:import namespace="9144449b-ba5a-4612-98a9-381e907e54b6"/>
    <xsd:element name="properties">
      <xsd:complexType>
        <xsd:sequence>
          <xsd:element name="documentManagement">
            <xsd:complexType>
              <xsd:all>
                <xsd:element ref="ns2:TaxCatchAll" minOccurs="0"/>
                <xsd:element ref="ns3:gb399f5cafb3492e9758fe6e7129f04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c86a1576-3e7e-4087-ab3d-29105cf9744e}" ma:internalName="TaxCatchAll" ma:showField="CatchAllData" ma:web="27aa9422-7f1f-4c84-9cdf-302b1a67e51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144449b-ba5a-4612-98a9-381e907e54b6" elementFormDefault="qualified">
    <xsd:import namespace="http://schemas.microsoft.com/office/2006/documentManagement/types"/>
    <xsd:import namespace="http://schemas.microsoft.com/office/infopath/2007/PartnerControls"/>
    <xsd:element name="gb399f5cafb3492e9758fe6e7129f04d" ma:index="10" nillable="true" ma:taxonomy="true" ma:internalName="gb399f5cafb3492e9758fe6e7129f04d" ma:taxonomyFieldName="Document_x0020_Tag" ma:displayName="Document Tag" ma:default="" ma:fieldId="{0b399f5c-afb3-492e-9758-fe6e7129f04d}" ma:taxonomyMulti="true" ma:sspId="e385fb40-52d4-4fae-9c5b-3e8ff8a5878e" ma:termSetId="e899c082-d26a-4467-bc6e-91facf8e6e36"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24</Value>
    </TaxCatchAll>
    <gb399f5cafb3492e9758fe6e7129f04d xmlns="9144449b-ba5a-4612-98a9-381e907e54b6">
      <Terms xmlns="http://schemas.microsoft.com/office/infopath/2007/PartnerControls">
        <TermInfo xmlns="http://schemas.microsoft.com/office/infopath/2007/PartnerControls">
          <TermName xmlns="http://schemas.microsoft.com/office/infopath/2007/PartnerControls">Content Templates</TermName>
          <TermId xmlns="http://schemas.microsoft.com/office/infopath/2007/PartnerControls">bdbbc9aa-4892-4816-9e36-bf1120da60e9</TermId>
        </TermInfo>
      </Terms>
    </gb399f5cafb3492e9758fe6e7129f04d>
  </documentManagement>
</p:properties>
</file>

<file path=customXml/itemProps1.xml><?xml version="1.0" encoding="utf-8"?>
<ds:datastoreItem xmlns:ds="http://schemas.openxmlformats.org/officeDocument/2006/customXml" ds:itemID="{B0CA13EC-1D3C-4D6F-8D1C-E8A452CFC79A}">
  <ds:schemaRefs>
    <ds:schemaRef ds:uri="http://schemas.microsoft.com/sharepoint/v3/contenttype/forms"/>
  </ds:schemaRefs>
</ds:datastoreItem>
</file>

<file path=customXml/itemProps2.xml><?xml version="1.0" encoding="utf-8"?>
<ds:datastoreItem xmlns:ds="http://schemas.openxmlformats.org/officeDocument/2006/customXml" ds:itemID="{82E29CF1-14D8-4EA9-9912-77C2B374A3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9144449b-ba5a-4612-98a9-381e907e54b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025FDD9-4C58-4084-9F89-0E6ADD6FFF55}">
  <ds:schemaRefs>
    <ds:schemaRef ds:uri="230e9df3-be65-4c73-a93b-d1236ebd677e"/>
    <ds:schemaRef ds:uri="http://purl.org/dc/elements/1.1/"/>
    <ds:schemaRef ds:uri="http://purl.org/dc/terms/"/>
    <ds:schemaRef ds:uri="http://schemas.microsoft.com/office/2006/metadata/properties"/>
    <ds:schemaRef ds:uri="http://schemas.microsoft.com/office/2006/documentManagement/types"/>
    <ds:schemaRef ds:uri="9144449b-ba5a-4612-98a9-381e907e54b6"/>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VA-CourseTemplate-1</Template>
  <TotalTime>330</TotalTime>
  <Words>847</Words>
  <Application>Microsoft Office PowerPoint</Application>
  <PresentationFormat>Widescreen</PresentationFormat>
  <Paragraphs>206</Paragraphs>
  <Slides>23</Slides>
  <Notes>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3</vt:i4>
      </vt:variant>
    </vt:vector>
  </HeadingPairs>
  <TitlesOfParts>
    <vt:vector size="31" baseType="lpstr">
      <vt:lpstr>Arial</vt:lpstr>
      <vt:lpstr>Calibri</vt:lpstr>
      <vt:lpstr>Consolas</vt:lpstr>
      <vt:lpstr>Segoe</vt:lpstr>
      <vt:lpstr>Segoe Light</vt:lpstr>
      <vt:lpstr>Segoe UI</vt:lpstr>
      <vt:lpstr>Segoe UI Light</vt:lpstr>
      <vt:lpstr>1_Office Theme</vt:lpstr>
      <vt:lpstr>PowerPoint Presentation</vt:lpstr>
      <vt:lpstr>Module Overview</vt:lpstr>
      <vt:lpstr>PowerPoint Presentation</vt:lpstr>
      <vt:lpstr>Windows Azure Overview</vt:lpstr>
      <vt:lpstr>Windows Azure Overview</vt:lpstr>
      <vt:lpstr>PowerPoint Presentation</vt:lpstr>
      <vt:lpstr>Azure from a Web Services Perspective….</vt:lpstr>
      <vt:lpstr>PowerPoint Presentation</vt:lpstr>
      <vt:lpstr>PowerPoint Presentation</vt:lpstr>
      <vt:lpstr>Supported Publishing Methods</vt:lpstr>
      <vt:lpstr>Deploying a Web Service to a Windows Azure Web Site</vt:lpstr>
      <vt:lpstr>PowerPoint Presentation</vt:lpstr>
      <vt:lpstr>What is a Cloud Service?</vt:lpstr>
      <vt:lpstr>Compute Web / Worker Role VMs</vt:lpstr>
      <vt:lpstr>Azure Fabric Controller &amp; VM Recovery</vt:lpstr>
      <vt:lpstr>Cloud Services</vt:lpstr>
      <vt:lpstr>Web Roles</vt:lpstr>
      <vt:lpstr>WCF Web Services in Web Roles</vt:lpstr>
      <vt:lpstr>Running and Deploying a WCF Service to a Web Role</vt:lpstr>
      <vt:lpstr>Worker Roles</vt:lpstr>
      <vt:lpstr>WCF Web Services in Worker Roles</vt:lpstr>
      <vt:lpstr>Running and Deploying a WCF Service to a Worker Role</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02 - Hosting Services in Windows Azure</dc:title>
  <dc:creator>Bret Stateham</dc:creator>
  <cp:lastModifiedBy>Bret Stateham</cp:lastModifiedBy>
  <cp:revision>81</cp:revision>
  <dcterms:created xsi:type="dcterms:W3CDTF">2013-10-14T21:08:33Z</dcterms:created>
  <dcterms:modified xsi:type="dcterms:W3CDTF">2013-11-07T23:5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7C1942F61CC445966EF0B72456FB71</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ies>
</file>